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0" r:id="rId8"/>
    <p:sldId id="2147472361"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300"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rcado, Andrea Marisol" userId="S::andmercado@deloitte.com::86282f0d-01fd-4acc-9387-9717b48c3e5d" providerId="AD" clId="Web-{79A96613-58D4-22F1-6AA3-9CA523F20FA8}"/>
    <pc:docChg chg="addSld modSld sldOrd">
      <pc:chgData name="Mercado, Andrea Marisol" userId="S::andmercado@deloitte.com::86282f0d-01fd-4acc-9387-9717b48c3e5d" providerId="AD" clId="Web-{79A96613-58D4-22F1-6AA3-9CA523F20FA8}" dt="2024-04-08T14:47:01.131" v="179"/>
      <pc:docMkLst>
        <pc:docMk/>
      </pc:docMkLst>
      <pc:sldChg chg="modSp">
        <pc:chgData name="Mercado, Andrea Marisol" userId="S::andmercado@deloitte.com::86282f0d-01fd-4acc-9387-9717b48c3e5d" providerId="AD" clId="Web-{79A96613-58D4-22F1-6AA3-9CA523F20FA8}" dt="2024-04-08T14:36:00.332" v="165"/>
        <pc:sldMkLst>
          <pc:docMk/>
          <pc:sldMk cId="755316252" sldId="2088197599"/>
        </pc:sldMkLst>
        <pc:graphicFrameChg chg="mod modGraphic">
          <ac:chgData name="Mercado, Andrea Marisol" userId="S::andmercado@deloitte.com::86282f0d-01fd-4acc-9387-9717b48c3e5d" providerId="AD" clId="Web-{79A96613-58D4-22F1-6AA3-9CA523F20FA8}" dt="2024-04-08T14:36:00.332" v="165"/>
          <ac:graphicFrameMkLst>
            <pc:docMk/>
            <pc:sldMk cId="755316252" sldId="2088197599"/>
            <ac:graphicFrameMk id="23" creationId="{7E8D589F-81F7-4213-87F0-E9771C3F59E4}"/>
          </ac:graphicFrameMkLst>
        </pc:graphicFrameChg>
      </pc:sldChg>
      <pc:sldChg chg="modSp">
        <pc:chgData name="Mercado, Andrea Marisol" userId="S::andmercado@deloitte.com::86282f0d-01fd-4acc-9387-9717b48c3e5d" providerId="AD" clId="Web-{79A96613-58D4-22F1-6AA3-9CA523F20FA8}" dt="2024-04-08T14:38:18.070" v="167" actId="14100"/>
        <pc:sldMkLst>
          <pc:docMk/>
          <pc:sldMk cId="1121746069" sldId="2147472356"/>
        </pc:sldMkLst>
        <pc:spChg chg="mod">
          <ac:chgData name="Mercado, Andrea Marisol" userId="S::andmercado@deloitte.com::86282f0d-01fd-4acc-9387-9717b48c3e5d" providerId="AD" clId="Web-{79A96613-58D4-22F1-6AA3-9CA523F20FA8}" dt="2024-04-08T14:38:18.070" v="167" actId="14100"/>
          <ac:spMkLst>
            <pc:docMk/>
            <pc:sldMk cId="1121746069" sldId="2147472356"/>
            <ac:spMk id="22" creationId="{AF825DFA-0B1D-514E-821F-B8FB7DBB549C}"/>
          </ac:spMkLst>
        </pc:spChg>
      </pc:sldChg>
      <pc:sldChg chg="modSp add replId">
        <pc:chgData name="Mercado, Andrea Marisol" userId="S::andmercado@deloitte.com::86282f0d-01fd-4acc-9387-9717b48c3e5d" providerId="AD" clId="Web-{79A96613-58D4-22F1-6AA3-9CA523F20FA8}" dt="2024-04-08T14:35:25.613" v="158"/>
        <pc:sldMkLst>
          <pc:docMk/>
          <pc:sldMk cId="1346836963" sldId="2147472359"/>
        </pc:sldMkLst>
        <pc:graphicFrameChg chg="mod modGraphic">
          <ac:chgData name="Mercado, Andrea Marisol" userId="S::andmercado@deloitte.com::86282f0d-01fd-4acc-9387-9717b48c3e5d" providerId="AD" clId="Web-{79A96613-58D4-22F1-6AA3-9CA523F20FA8}" dt="2024-04-08T14:35:25.613" v="158"/>
          <ac:graphicFrameMkLst>
            <pc:docMk/>
            <pc:sldMk cId="1346836963" sldId="2147472359"/>
            <ac:graphicFrameMk id="23" creationId="{7E8D589F-81F7-4213-87F0-E9771C3F59E4}"/>
          </ac:graphicFrameMkLst>
        </pc:graphicFrameChg>
      </pc:sldChg>
      <pc:sldChg chg="delSp modSp add replId">
        <pc:chgData name="Mercado, Andrea Marisol" userId="S::andmercado@deloitte.com::86282f0d-01fd-4acc-9387-9717b48c3e5d" providerId="AD" clId="Web-{79A96613-58D4-22F1-6AA3-9CA523F20FA8}" dt="2024-04-08T14:39:57.901" v="177"/>
        <pc:sldMkLst>
          <pc:docMk/>
          <pc:sldMk cId="3113105376" sldId="2147472360"/>
        </pc:sldMkLst>
        <pc:spChg chg="del mod">
          <ac:chgData name="Mercado, Andrea Marisol" userId="S::andmercado@deloitte.com::86282f0d-01fd-4acc-9387-9717b48c3e5d" providerId="AD" clId="Web-{79A96613-58D4-22F1-6AA3-9CA523F20FA8}" dt="2024-04-08T14:29:41.838" v="46"/>
          <ac:spMkLst>
            <pc:docMk/>
            <pc:sldMk cId="3113105376" sldId="2147472360"/>
            <ac:spMk id="2" creationId="{75C2EA3E-DBEF-F003-B7B6-FE3646F2F22D}"/>
          </ac:spMkLst>
        </pc:spChg>
        <pc:graphicFrameChg chg="mod modGraphic">
          <ac:chgData name="Mercado, Andrea Marisol" userId="S::andmercado@deloitte.com::86282f0d-01fd-4acc-9387-9717b48c3e5d" providerId="AD" clId="Web-{79A96613-58D4-22F1-6AA3-9CA523F20FA8}" dt="2024-04-08T14:39:57.901" v="177"/>
          <ac:graphicFrameMkLst>
            <pc:docMk/>
            <pc:sldMk cId="3113105376" sldId="2147472360"/>
            <ac:graphicFrameMk id="23" creationId="{7E8D589F-81F7-4213-87F0-E9771C3F59E4}"/>
          </ac:graphicFrameMkLst>
        </pc:graphicFrameChg>
      </pc:sldChg>
      <pc:sldChg chg="modSp add replId">
        <pc:chgData name="Mercado, Andrea Marisol" userId="S::andmercado@deloitte.com::86282f0d-01fd-4acc-9387-9717b48c3e5d" providerId="AD" clId="Web-{79A96613-58D4-22F1-6AA3-9CA523F20FA8}" dt="2024-04-08T14:30:30.730" v="64"/>
        <pc:sldMkLst>
          <pc:docMk/>
          <pc:sldMk cId="60545516" sldId="2147472361"/>
        </pc:sldMkLst>
        <pc:graphicFrameChg chg="modGraphic">
          <ac:chgData name="Mercado, Andrea Marisol" userId="S::andmercado@deloitte.com::86282f0d-01fd-4acc-9387-9717b48c3e5d" providerId="AD" clId="Web-{79A96613-58D4-22F1-6AA3-9CA523F20FA8}" dt="2024-04-08T14:30:30.730" v="64"/>
          <ac:graphicFrameMkLst>
            <pc:docMk/>
            <pc:sldMk cId="60545516" sldId="2147472361"/>
            <ac:graphicFrameMk id="23" creationId="{7E8D589F-81F7-4213-87F0-E9771C3F59E4}"/>
          </ac:graphicFrameMkLst>
        </pc:graphicFrameChg>
      </pc:sldChg>
      <pc:sldChg chg="modSp add replId">
        <pc:chgData name="Mercado, Andrea Marisol" userId="S::andmercado@deloitte.com::86282f0d-01fd-4acc-9387-9717b48c3e5d" providerId="AD" clId="Web-{79A96613-58D4-22F1-6AA3-9CA523F20FA8}" dt="2024-04-08T14:47:01.131" v="179"/>
        <pc:sldMkLst>
          <pc:docMk/>
          <pc:sldMk cId="3290769511" sldId="2147472362"/>
        </pc:sldMkLst>
        <pc:graphicFrameChg chg="mod modGraphic">
          <ac:chgData name="Mercado, Andrea Marisol" userId="S::andmercado@deloitte.com::86282f0d-01fd-4acc-9387-9717b48c3e5d" providerId="AD" clId="Web-{79A96613-58D4-22F1-6AA3-9CA523F20FA8}" dt="2024-04-08T14:47:01.131" v="179"/>
          <ac:graphicFrameMkLst>
            <pc:docMk/>
            <pc:sldMk cId="3290769511" sldId="2147472362"/>
            <ac:graphicFrameMk id="23" creationId="{7E8D589F-81F7-4213-87F0-E9771C3F59E4}"/>
          </ac:graphicFrameMkLst>
        </pc:graphicFrameChg>
      </pc:sldChg>
      <pc:sldChg chg="modSp add ord replId">
        <pc:chgData name="Mercado, Andrea Marisol" userId="S::andmercado@deloitte.com::86282f0d-01fd-4acc-9387-9717b48c3e5d" providerId="AD" clId="Web-{79A96613-58D4-22F1-6AA3-9CA523F20FA8}" dt="2024-04-08T14:35:30.222" v="160"/>
        <pc:sldMkLst>
          <pc:docMk/>
          <pc:sldMk cId="3942490418" sldId="2147472363"/>
        </pc:sldMkLst>
        <pc:graphicFrameChg chg="mod modGraphic">
          <ac:chgData name="Mercado, Andrea Marisol" userId="S::andmercado@deloitte.com::86282f0d-01fd-4acc-9387-9717b48c3e5d" providerId="AD" clId="Web-{79A96613-58D4-22F1-6AA3-9CA523F20FA8}" dt="2024-04-08T14:35:30.222" v="160"/>
          <ac:graphicFrameMkLst>
            <pc:docMk/>
            <pc:sldMk cId="3942490418" sldId="2147472363"/>
            <ac:graphicFrameMk id="23" creationId="{7E8D589F-81F7-4213-87F0-E9771C3F59E4}"/>
          </ac:graphicFrameMkLst>
        </pc:graphicFrameChg>
      </pc:sldChg>
      <pc:sldChg chg="modSp add replId">
        <pc:chgData name="Mercado, Andrea Marisol" userId="S::andmercado@deloitte.com::86282f0d-01fd-4acc-9387-9717b48c3e5d" providerId="AD" clId="Web-{79A96613-58D4-22F1-6AA3-9CA523F20FA8}" dt="2024-04-08T14:35:14.737" v="148"/>
        <pc:sldMkLst>
          <pc:docMk/>
          <pc:sldMk cId="1524005427" sldId="2147472364"/>
        </pc:sldMkLst>
        <pc:graphicFrameChg chg="mod modGraphic">
          <ac:chgData name="Mercado, Andrea Marisol" userId="S::andmercado@deloitte.com::86282f0d-01fd-4acc-9387-9717b48c3e5d" providerId="AD" clId="Web-{79A96613-58D4-22F1-6AA3-9CA523F20FA8}" dt="2024-04-08T14:35:14.737" v="148"/>
          <ac:graphicFrameMkLst>
            <pc:docMk/>
            <pc:sldMk cId="1524005427" sldId="2147472364"/>
            <ac:graphicFrameMk id="23" creationId="{7E8D589F-81F7-4213-87F0-E9771C3F59E4}"/>
          </ac:graphicFrameMkLst>
        </pc:graphicFrameChg>
      </pc:sldChg>
    </pc:docChg>
  </pc:docChgLst>
  <pc:docChgLst>
    <pc:chgData name="White, Alex" userId="S::alexwhite2@deloitte.com::ec106449-b05b-4350-a7bb-dde97a3f5337" providerId="AD" clId="Web-{6A9387E8-1895-4040-4106-3D6A55A33C67}"/>
    <pc:docChg chg="modSld">
      <pc:chgData name="White, Alex" userId="S::alexwhite2@deloitte.com::ec106449-b05b-4350-a7bb-dde97a3f5337" providerId="AD" clId="Web-{6A9387E8-1895-4040-4106-3D6A55A33C67}" dt="2024-04-09T19:01:16.946" v="0"/>
      <pc:docMkLst>
        <pc:docMk/>
      </pc:docMkLst>
      <pc:sldChg chg="modSp">
        <pc:chgData name="White, Alex" userId="S::alexwhite2@deloitte.com::ec106449-b05b-4350-a7bb-dde97a3f5337" providerId="AD" clId="Web-{6A9387E8-1895-4040-4106-3D6A55A33C67}" dt="2024-04-09T19:01:16.946" v="0"/>
        <pc:sldMkLst>
          <pc:docMk/>
          <pc:sldMk cId="2534569061" sldId="2147472368"/>
        </pc:sldMkLst>
        <pc:graphicFrameChg chg="modGraphic">
          <ac:chgData name="White, Alex" userId="S::alexwhite2@deloitte.com::ec106449-b05b-4350-a7bb-dde97a3f5337" providerId="AD" clId="Web-{6A9387E8-1895-4040-4106-3D6A55A33C67}" dt="2024-04-09T19:01:16.946" v="0"/>
          <ac:graphicFrameMkLst>
            <pc:docMk/>
            <pc:sldMk cId="2534569061" sldId="2147472368"/>
            <ac:graphicFrameMk id="24" creationId="{155F3EFF-79B6-469A-9AA4-B8AD4E28AB71}"/>
          </ac:graphicFrameMkLst>
        </pc:graphicFrameChg>
      </pc:sldChg>
    </pc:docChg>
  </pc:docChgLst>
  <pc:docChgLst>
    <pc:chgData name="Chavarria, Nicole" userId="S::nchavarria@deloitte.com::59465f16-f52e-4fac-9696-8351220b84a8" providerId="AD" clId="Web-{7802E824-22F1-4C08-9BD3-7B2948C671C9}"/>
    <pc:docChg chg="modSld">
      <pc:chgData name="Chavarria, Nicole" userId="S::nchavarria@deloitte.com::59465f16-f52e-4fac-9696-8351220b84a8" providerId="AD" clId="Web-{7802E824-22F1-4C08-9BD3-7B2948C671C9}" dt="2024-04-19T16:00:36.337" v="241"/>
      <pc:docMkLst>
        <pc:docMk/>
      </pc:docMkLst>
      <pc:sldChg chg="modSp">
        <pc:chgData name="Chavarria, Nicole" userId="S::nchavarria@deloitte.com::59465f16-f52e-4fac-9696-8351220b84a8" providerId="AD" clId="Web-{7802E824-22F1-4C08-9BD3-7B2948C671C9}" dt="2024-04-19T16:00:36.337" v="241"/>
        <pc:sldMkLst>
          <pc:docMk/>
          <pc:sldMk cId="2831691344" sldId="2147472367"/>
        </pc:sldMkLst>
        <pc:graphicFrameChg chg="mod modGraphic">
          <ac:chgData name="Chavarria, Nicole" userId="S::nchavarria@deloitte.com::59465f16-f52e-4fac-9696-8351220b84a8" providerId="AD" clId="Web-{7802E824-22F1-4C08-9BD3-7B2948C671C9}" dt="2024-04-19T16:00:36.337" v="241"/>
          <ac:graphicFrameMkLst>
            <pc:docMk/>
            <pc:sldMk cId="2831691344" sldId="2147472367"/>
            <ac:graphicFrameMk id="24" creationId="{155F3EFF-79B6-469A-9AA4-B8AD4E28AB71}"/>
          </ac:graphicFrameMkLst>
        </pc:graphicFrameChg>
      </pc:sldChg>
    </pc:docChg>
  </pc:docChgLst>
  <pc:docChgLst>
    <pc:chgData name="Jarcik, Andrew" userId="721e7551-2db4-4102-b3c1-66f8e1f48f72" providerId="ADAL" clId="{96C74B38-D5EA-48D4-AA92-3546A3DC9430}"/>
    <pc:docChg chg="sldOrd">
      <pc:chgData name="Jarcik, Andrew" userId="721e7551-2db4-4102-b3c1-66f8e1f48f72" providerId="ADAL" clId="{96C74B38-D5EA-48D4-AA92-3546A3DC9430}" dt="2024-06-12T17:35:37.179" v="0" actId="20578"/>
      <pc:docMkLst>
        <pc:docMk/>
      </pc:docMkLst>
      <pc:sldChg chg="ord">
        <pc:chgData name="Jarcik, Andrew" userId="721e7551-2db4-4102-b3c1-66f8e1f48f72" providerId="ADAL" clId="{96C74B38-D5EA-48D4-AA92-3546A3DC9430}" dt="2024-06-12T17:35:37.179" v="0" actId="20578"/>
        <pc:sldMkLst>
          <pc:docMk/>
          <pc:sldMk cId="1346836963" sldId="2147472359"/>
        </pc:sldMkLst>
      </pc:sldChg>
    </pc:docChg>
  </pc:docChgLst>
  <pc:docChgLst>
    <pc:chgData name="Mercado, Andrea Marisol" userId="S::andmercado@deloitte.com::86282f0d-01fd-4acc-9387-9717b48c3e5d" providerId="AD" clId="Web-{48BF5643-66AE-56CB-3E44-F77EDEB639BC}"/>
    <pc:docChg chg="modSld">
      <pc:chgData name="Mercado, Andrea Marisol" userId="S::andmercado@deloitte.com::86282f0d-01fd-4acc-9387-9717b48c3e5d" providerId="AD" clId="Web-{48BF5643-66AE-56CB-3E44-F77EDEB639BC}" dt="2024-04-12T15:28:10.072" v="404"/>
      <pc:docMkLst>
        <pc:docMk/>
      </pc:docMkLst>
      <pc:sldChg chg="modSp">
        <pc:chgData name="Mercado, Andrea Marisol" userId="S::andmercado@deloitte.com::86282f0d-01fd-4acc-9387-9717b48c3e5d" providerId="AD" clId="Web-{48BF5643-66AE-56CB-3E44-F77EDEB639BC}" dt="2024-04-12T15:25:16.113" v="324"/>
        <pc:sldMkLst>
          <pc:docMk/>
          <pc:sldMk cId="1346836963" sldId="2147472359"/>
        </pc:sldMkLst>
        <pc:graphicFrameChg chg="mod modGraphic">
          <ac:chgData name="Mercado, Andrea Marisol" userId="S::andmercado@deloitte.com::86282f0d-01fd-4acc-9387-9717b48c3e5d" providerId="AD" clId="Web-{48BF5643-66AE-56CB-3E44-F77EDEB639BC}" dt="2024-04-12T15:25:16.113" v="324"/>
          <ac:graphicFrameMkLst>
            <pc:docMk/>
            <pc:sldMk cId="1346836963" sldId="2147472359"/>
            <ac:graphicFrameMk id="23" creationId="{7E8D589F-81F7-4213-87F0-E9771C3F59E4}"/>
          </ac:graphicFrameMkLst>
        </pc:graphicFrameChg>
      </pc:sldChg>
      <pc:sldChg chg="modSp">
        <pc:chgData name="Mercado, Andrea Marisol" userId="S::andmercado@deloitte.com::86282f0d-01fd-4acc-9387-9717b48c3e5d" providerId="AD" clId="Web-{48BF5643-66AE-56CB-3E44-F77EDEB639BC}" dt="2024-04-12T15:22:03.951" v="240"/>
        <pc:sldMkLst>
          <pc:docMk/>
          <pc:sldMk cId="3113105376" sldId="2147472360"/>
        </pc:sldMkLst>
        <pc:graphicFrameChg chg="mod modGraphic">
          <ac:chgData name="Mercado, Andrea Marisol" userId="S::andmercado@deloitte.com::86282f0d-01fd-4acc-9387-9717b48c3e5d" providerId="AD" clId="Web-{48BF5643-66AE-56CB-3E44-F77EDEB639BC}" dt="2024-04-12T15:22:03.951" v="240"/>
          <ac:graphicFrameMkLst>
            <pc:docMk/>
            <pc:sldMk cId="3113105376" sldId="2147472360"/>
            <ac:graphicFrameMk id="23" creationId="{7E8D589F-81F7-4213-87F0-E9771C3F59E4}"/>
          </ac:graphicFrameMkLst>
        </pc:graphicFrameChg>
      </pc:sldChg>
      <pc:sldChg chg="modSp">
        <pc:chgData name="Mercado, Andrea Marisol" userId="S::andmercado@deloitte.com::86282f0d-01fd-4acc-9387-9717b48c3e5d" providerId="AD" clId="Web-{48BF5643-66AE-56CB-3E44-F77EDEB639BC}" dt="2024-04-12T15:16:20.596" v="88"/>
        <pc:sldMkLst>
          <pc:docMk/>
          <pc:sldMk cId="60545516" sldId="2147472361"/>
        </pc:sldMkLst>
        <pc:graphicFrameChg chg="mod modGraphic">
          <ac:chgData name="Mercado, Andrea Marisol" userId="S::andmercado@deloitte.com::86282f0d-01fd-4acc-9387-9717b48c3e5d" providerId="AD" clId="Web-{48BF5643-66AE-56CB-3E44-F77EDEB639BC}" dt="2024-04-12T15:16:20.596" v="88"/>
          <ac:graphicFrameMkLst>
            <pc:docMk/>
            <pc:sldMk cId="60545516" sldId="2147472361"/>
            <ac:graphicFrameMk id="23" creationId="{7E8D589F-81F7-4213-87F0-E9771C3F59E4}"/>
          </ac:graphicFrameMkLst>
        </pc:graphicFrameChg>
      </pc:sldChg>
      <pc:sldChg chg="modSp">
        <pc:chgData name="Mercado, Andrea Marisol" userId="S::andmercado@deloitte.com::86282f0d-01fd-4acc-9387-9717b48c3e5d" providerId="AD" clId="Web-{48BF5643-66AE-56CB-3E44-F77EDEB639BC}" dt="2024-04-12T15:24:41.174" v="298"/>
        <pc:sldMkLst>
          <pc:docMk/>
          <pc:sldMk cId="3942490418" sldId="2147472363"/>
        </pc:sldMkLst>
        <pc:graphicFrameChg chg="mod modGraphic">
          <ac:chgData name="Mercado, Andrea Marisol" userId="S::andmercado@deloitte.com::86282f0d-01fd-4acc-9387-9717b48c3e5d" providerId="AD" clId="Web-{48BF5643-66AE-56CB-3E44-F77EDEB639BC}" dt="2024-04-12T15:24:41.174" v="298"/>
          <ac:graphicFrameMkLst>
            <pc:docMk/>
            <pc:sldMk cId="3942490418" sldId="2147472363"/>
            <ac:graphicFrameMk id="23" creationId="{7E8D589F-81F7-4213-87F0-E9771C3F59E4}"/>
          </ac:graphicFrameMkLst>
        </pc:graphicFrameChg>
      </pc:sldChg>
      <pc:sldChg chg="modSp">
        <pc:chgData name="Mercado, Andrea Marisol" userId="S::andmercado@deloitte.com::86282f0d-01fd-4acc-9387-9717b48c3e5d" providerId="AD" clId="Web-{48BF5643-66AE-56CB-3E44-F77EDEB639BC}" dt="2024-04-12T15:26:10.162" v="352"/>
        <pc:sldMkLst>
          <pc:docMk/>
          <pc:sldMk cId="1524005427" sldId="2147472364"/>
        </pc:sldMkLst>
        <pc:graphicFrameChg chg="mod modGraphic">
          <ac:chgData name="Mercado, Andrea Marisol" userId="S::andmercado@deloitte.com::86282f0d-01fd-4acc-9387-9717b48c3e5d" providerId="AD" clId="Web-{48BF5643-66AE-56CB-3E44-F77EDEB639BC}" dt="2024-04-12T15:26:10.162" v="352"/>
          <ac:graphicFrameMkLst>
            <pc:docMk/>
            <pc:sldMk cId="1524005427" sldId="2147472364"/>
            <ac:graphicFrameMk id="23" creationId="{7E8D589F-81F7-4213-87F0-E9771C3F59E4}"/>
          </ac:graphicFrameMkLst>
        </pc:graphicFrameChg>
      </pc:sldChg>
      <pc:sldChg chg="modSp">
        <pc:chgData name="Mercado, Andrea Marisol" userId="S::andmercado@deloitte.com::86282f0d-01fd-4acc-9387-9717b48c3e5d" providerId="AD" clId="Web-{48BF5643-66AE-56CB-3E44-F77EDEB639BC}" dt="2024-04-12T15:28:10.072" v="404"/>
        <pc:sldMkLst>
          <pc:docMk/>
          <pc:sldMk cId="2534569061" sldId="2147472368"/>
        </pc:sldMkLst>
        <pc:graphicFrameChg chg="mod modGraphic">
          <ac:chgData name="Mercado, Andrea Marisol" userId="S::andmercado@deloitte.com::86282f0d-01fd-4acc-9387-9717b48c3e5d" providerId="AD" clId="Web-{48BF5643-66AE-56CB-3E44-F77EDEB639BC}" dt="2024-04-12T15:28:10.072" v="404"/>
          <ac:graphicFrameMkLst>
            <pc:docMk/>
            <pc:sldMk cId="2534569061" sldId="2147472368"/>
            <ac:graphicFrameMk id="24" creationId="{155F3EFF-79B6-469A-9AA4-B8AD4E28AB71}"/>
          </ac:graphicFrameMkLst>
        </pc:graphicFrameChg>
      </pc:sldChg>
      <pc:sldChg chg="modSp">
        <pc:chgData name="Mercado, Andrea Marisol" userId="S::andmercado@deloitte.com::86282f0d-01fd-4acc-9387-9717b48c3e5d" providerId="AD" clId="Web-{48BF5643-66AE-56CB-3E44-F77EDEB639BC}" dt="2024-04-12T15:24:46.362" v="310"/>
        <pc:sldMkLst>
          <pc:docMk/>
          <pc:sldMk cId="736632594" sldId="2147472371"/>
        </pc:sldMkLst>
        <pc:graphicFrameChg chg="mod modGraphic">
          <ac:chgData name="Mercado, Andrea Marisol" userId="S::andmercado@deloitte.com::86282f0d-01fd-4acc-9387-9717b48c3e5d" providerId="AD" clId="Web-{48BF5643-66AE-56CB-3E44-F77EDEB639BC}" dt="2024-04-12T15:24:46.362" v="310"/>
          <ac:graphicFrameMkLst>
            <pc:docMk/>
            <pc:sldMk cId="736632594" sldId="2147472371"/>
            <ac:graphicFrameMk id="23" creationId="{7E8D589F-81F7-4213-87F0-E9771C3F59E4}"/>
          </ac:graphicFrameMkLst>
        </pc:graphicFrameChg>
      </pc:sldChg>
    </pc:docChg>
  </pc:docChgLst>
  <pc:docChgLst>
    <pc:chgData name="Delgado Perez, Kevin Joan" userId="562c2034-40c9-48bd-b698-815edf005a5c" providerId="ADAL" clId="{86031228-2790-41ED-B06C-419C3E07D2B4}"/>
    <pc:docChg chg="undo custSel modSld">
      <pc:chgData name="Delgado Perez, Kevin Joan" userId="562c2034-40c9-48bd-b698-815edf005a5c" providerId="ADAL" clId="{86031228-2790-41ED-B06C-419C3E07D2B4}" dt="2024-04-08T21:06:10.516" v="82" actId="255"/>
      <pc:docMkLst>
        <pc:docMk/>
      </pc:docMkLst>
      <pc:sldChg chg="modSp mod">
        <pc:chgData name="Delgado Perez, Kevin Joan" userId="562c2034-40c9-48bd-b698-815edf005a5c" providerId="ADAL" clId="{86031228-2790-41ED-B06C-419C3E07D2B4}" dt="2024-04-08T20:56:31.338" v="29" actId="20577"/>
        <pc:sldMkLst>
          <pc:docMk/>
          <pc:sldMk cId="2450963468" sldId="2147472365"/>
        </pc:sldMkLst>
        <pc:graphicFrameChg chg="mod modGraphic">
          <ac:chgData name="Delgado Perez, Kevin Joan" userId="562c2034-40c9-48bd-b698-815edf005a5c" providerId="ADAL" clId="{86031228-2790-41ED-B06C-419C3E07D2B4}" dt="2024-04-08T20:56:31.338" v="29" actId="20577"/>
          <ac:graphicFrameMkLst>
            <pc:docMk/>
            <pc:sldMk cId="2450963468" sldId="2147472365"/>
            <ac:graphicFrameMk id="24" creationId="{155F3EFF-79B6-469A-9AA4-B8AD4E28AB71}"/>
          </ac:graphicFrameMkLst>
        </pc:graphicFrameChg>
      </pc:sldChg>
      <pc:sldChg chg="delSp modSp mod">
        <pc:chgData name="Delgado Perez, Kevin Joan" userId="562c2034-40c9-48bd-b698-815edf005a5c" providerId="ADAL" clId="{86031228-2790-41ED-B06C-419C3E07D2B4}" dt="2024-04-08T21:06:10.516" v="82" actId="255"/>
        <pc:sldMkLst>
          <pc:docMk/>
          <pc:sldMk cId="2831691344" sldId="2147472367"/>
        </pc:sldMkLst>
        <pc:spChg chg="del">
          <ac:chgData name="Delgado Perez, Kevin Joan" userId="562c2034-40c9-48bd-b698-815edf005a5c" providerId="ADAL" clId="{86031228-2790-41ED-B06C-419C3E07D2B4}" dt="2024-04-08T20:58:07.968" v="43" actId="478"/>
          <ac:spMkLst>
            <pc:docMk/>
            <pc:sldMk cId="2831691344" sldId="2147472367"/>
            <ac:spMk id="2" creationId="{75C2EA3E-DBEF-F003-B7B6-FE3646F2F22D}"/>
          </ac:spMkLst>
        </pc:spChg>
        <pc:graphicFrameChg chg="mod modGraphic">
          <ac:chgData name="Delgado Perez, Kevin Joan" userId="562c2034-40c9-48bd-b698-815edf005a5c" providerId="ADAL" clId="{86031228-2790-41ED-B06C-419C3E07D2B4}" dt="2024-04-08T21:06:10.516" v="82" actId="255"/>
          <ac:graphicFrameMkLst>
            <pc:docMk/>
            <pc:sldMk cId="2831691344" sldId="2147472367"/>
            <ac:graphicFrameMk id="24" creationId="{155F3EFF-79B6-469A-9AA4-B8AD4E28AB71}"/>
          </ac:graphicFrameMkLst>
        </pc:graphicFrameChg>
      </pc:sldChg>
      <pc:sldChg chg="modSp mod">
        <pc:chgData name="Delgado Perez, Kevin Joan" userId="562c2034-40c9-48bd-b698-815edf005a5c" providerId="ADAL" clId="{86031228-2790-41ED-B06C-419C3E07D2B4}" dt="2024-04-08T21:01:26.454" v="68" actId="113"/>
        <pc:sldMkLst>
          <pc:docMk/>
          <pc:sldMk cId="866751995" sldId="2147472369"/>
        </pc:sldMkLst>
        <pc:graphicFrameChg chg="mod modGraphic">
          <ac:chgData name="Delgado Perez, Kevin Joan" userId="562c2034-40c9-48bd-b698-815edf005a5c" providerId="ADAL" clId="{86031228-2790-41ED-B06C-419C3E07D2B4}" dt="2024-04-08T21:01:26.454" v="68" actId="113"/>
          <ac:graphicFrameMkLst>
            <pc:docMk/>
            <pc:sldMk cId="866751995" sldId="2147472369"/>
            <ac:graphicFrameMk id="24" creationId="{155F3EFF-79B6-469A-9AA4-B8AD4E28AB71}"/>
          </ac:graphicFrameMkLst>
        </pc:graphicFrameChg>
      </pc:sldChg>
    </pc:docChg>
  </pc:docChgLst>
  <pc:docChgLst>
    <pc:chgData name="Mercado, Andrea Marisol" userId="S::andmercado@deloitte.com::86282f0d-01fd-4acc-9387-9717b48c3e5d" providerId="AD" clId="Web-{DD3E56AB-4386-1539-6865-D9F4E296387C}"/>
    <pc:docChg chg="delSld modSld sldOrd">
      <pc:chgData name="Mercado, Andrea Marisol" userId="S::andmercado@deloitte.com::86282f0d-01fd-4acc-9387-9717b48c3e5d" providerId="AD" clId="Web-{DD3E56AB-4386-1539-6865-D9F4E296387C}" dt="2024-06-07T14:07:11.412" v="645"/>
      <pc:docMkLst>
        <pc:docMk/>
      </pc:docMkLst>
      <pc:sldChg chg="delSp modSp">
        <pc:chgData name="Mercado, Andrea Marisol" userId="S::andmercado@deloitte.com::86282f0d-01fd-4acc-9387-9717b48c3e5d" providerId="AD" clId="Web-{DD3E56AB-4386-1539-6865-D9F4E296387C}" dt="2024-06-07T14:05:47.143" v="644"/>
        <pc:sldMkLst>
          <pc:docMk/>
          <pc:sldMk cId="0" sldId="522"/>
        </pc:sldMkLst>
        <pc:spChg chg="del mod">
          <ac:chgData name="Mercado, Andrea Marisol" userId="S::andmercado@deloitte.com::86282f0d-01fd-4acc-9387-9717b48c3e5d" providerId="AD" clId="Web-{DD3E56AB-4386-1539-6865-D9F4E296387C}" dt="2024-06-07T14:05:47.143" v="644"/>
          <ac:spMkLst>
            <pc:docMk/>
            <pc:sldMk cId="0" sldId="522"/>
            <ac:spMk id="3" creationId="{00000000-0000-0000-0000-000000000000}"/>
          </ac:spMkLst>
        </pc:spChg>
        <pc:graphicFrameChg chg="mod modGraphic">
          <ac:chgData name="Mercado, Andrea Marisol" userId="S::andmercado@deloitte.com::86282f0d-01fd-4acc-9387-9717b48c3e5d" providerId="AD" clId="Web-{DD3E56AB-4386-1539-6865-D9F4E296387C}" dt="2024-06-07T13:38:57.344" v="69"/>
          <ac:graphicFrameMkLst>
            <pc:docMk/>
            <pc:sldMk cId="0" sldId="522"/>
            <ac:graphicFrameMk id="5" creationId="{00000000-0000-0000-0000-000000000000}"/>
          </ac:graphicFrameMkLst>
        </pc:graphicFrameChg>
      </pc:sldChg>
      <pc:sldChg chg="ord">
        <pc:chgData name="Mercado, Andrea Marisol" userId="S::andmercado@deloitte.com::86282f0d-01fd-4acc-9387-9717b48c3e5d" providerId="AD" clId="Web-{DD3E56AB-4386-1539-6865-D9F4E296387C}" dt="2024-06-07T14:07:11.412" v="645"/>
        <pc:sldMkLst>
          <pc:docMk/>
          <pc:sldMk cId="60545516" sldId="2147472361"/>
        </pc:sldMkLst>
      </pc:sldChg>
      <pc:sldChg chg="modSp del">
        <pc:chgData name="Mercado, Andrea Marisol" userId="S::andmercado@deloitte.com::86282f0d-01fd-4acc-9387-9717b48c3e5d" providerId="AD" clId="Web-{DD3E56AB-4386-1539-6865-D9F4E296387C}" dt="2024-06-07T14:04:33.296" v="642"/>
        <pc:sldMkLst>
          <pc:docMk/>
          <pc:sldMk cId="866751995" sldId="2147472369"/>
        </pc:sldMkLst>
        <pc:graphicFrameChg chg="mod modGraphic">
          <ac:chgData name="Mercado, Andrea Marisol" userId="S::andmercado@deloitte.com::86282f0d-01fd-4acc-9387-9717b48c3e5d" providerId="AD" clId="Web-{DD3E56AB-4386-1539-6865-D9F4E296387C}" dt="2024-06-07T14:04:33.296" v="642"/>
          <ac:graphicFrameMkLst>
            <pc:docMk/>
            <pc:sldMk cId="866751995" sldId="2147472369"/>
            <ac:graphicFrameMk id="24" creationId="{155F3EFF-79B6-469A-9AA4-B8AD4E28AB71}"/>
          </ac:graphicFrameMkLst>
        </pc:graphicFrameChg>
      </pc:sldChg>
    </pc:docChg>
  </pc:docChgLst>
  <pc:docChgLst>
    <pc:chgData name="Delgado Perez, Kevin Joan" userId="562c2034-40c9-48bd-b698-815edf005a5c" providerId="ADAL" clId="{F2149BB3-CF16-48E2-938D-A89ECEFB2520}"/>
    <pc:docChg chg="undo custSel modSld sldOrd">
      <pc:chgData name="Delgado Perez, Kevin Joan" userId="562c2034-40c9-48bd-b698-815edf005a5c" providerId="ADAL" clId="{F2149BB3-CF16-48E2-938D-A89ECEFB2520}" dt="2024-04-11T16:26:41.694" v="5"/>
      <pc:docMkLst>
        <pc:docMk/>
      </pc:docMkLst>
      <pc:sldChg chg="modSp mod">
        <pc:chgData name="Delgado Perez, Kevin Joan" userId="562c2034-40c9-48bd-b698-815edf005a5c" providerId="ADAL" clId="{F2149BB3-CF16-48E2-938D-A89ECEFB2520}" dt="2024-04-11T16:26:15.915" v="3" actId="1076"/>
        <pc:sldMkLst>
          <pc:docMk/>
          <pc:sldMk cId="3856161989" sldId="2147472358"/>
        </pc:sldMkLst>
        <pc:picChg chg="mod">
          <ac:chgData name="Delgado Perez, Kevin Joan" userId="562c2034-40c9-48bd-b698-815edf005a5c" providerId="ADAL" clId="{F2149BB3-CF16-48E2-938D-A89ECEFB2520}" dt="2024-04-11T16:26:15.915" v="3" actId="1076"/>
          <ac:picMkLst>
            <pc:docMk/>
            <pc:sldMk cId="3856161989" sldId="2147472358"/>
            <ac:picMk id="4" creationId="{856BB6BB-B726-B504-9CCF-C10BE2317BFB}"/>
          </ac:picMkLst>
        </pc:picChg>
      </pc:sldChg>
      <pc:sldChg chg="ord">
        <pc:chgData name="Delgado Perez, Kevin Joan" userId="562c2034-40c9-48bd-b698-815edf005a5c" providerId="ADAL" clId="{F2149BB3-CF16-48E2-938D-A89ECEFB2520}" dt="2024-04-11T16:26:41.694" v="5"/>
        <pc:sldMkLst>
          <pc:docMk/>
          <pc:sldMk cId="1901620225" sldId="2147472366"/>
        </pc:sldMkLst>
      </pc:sldChg>
    </pc:docChg>
  </pc:docChgLst>
  <pc:docChgLst>
    <pc:chgData name="Chavarria, Nicole" userId="S::nchavarria@deloitte.com::59465f16-f52e-4fac-9696-8351220b84a8" providerId="AD" clId="Web-{58E98F6D-6880-4E95-85D3-8760A1229BAE}"/>
    <pc:docChg chg="addSld modSld">
      <pc:chgData name="Chavarria, Nicole" userId="S::nchavarria@deloitte.com::59465f16-f52e-4fac-9696-8351220b84a8" providerId="AD" clId="Web-{58E98F6D-6880-4E95-85D3-8760A1229BAE}" dt="2024-04-08T21:07:42.210" v="101"/>
      <pc:docMkLst>
        <pc:docMk/>
      </pc:docMkLst>
      <pc:sldChg chg="modSp">
        <pc:chgData name="Chavarria, Nicole" userId="S::nchavarria@deloitte.com::59465f16-f52e-4fac-9696-8351220b84a8" providerId="AD" clId="Web-{58E98F6D-6880-4E95-85D3-8760A1229BAE}" dt="2024-04-08T21:07:42.210" v="101"/>
        <pc:sldMkLst>
          <pc:docMk/>
          <pc:sldMk cId="0" sldId="522"/>
        </pc:sldMkLst>
        <pc:spChg chg="mod">
          <ac:chgData name="Chavarria, Nicole" userId="S::nchavarria@deloitte.com::59465f16-f52e-4fac-9696-8351220b84a8" providerId="AD" clId="Web-{58E98F6D-6880-4E95-85D3-8760A1229BAE}" dt="2024-04-08T21:07:19.787" v="97" actId="20577"/>
          <ac:spMkLst>
            <pc:docMk/>
            <pc:sldMk cId="0" sldId="522"/>
            <ac:spMk id="831489" creationId="{00000000-0000-0000-0000-000000000000}"/>
          </ac:spMkLst>
        </pc:spChg>
        <pc:graphicFrameChg chg="mod modGraphic">
          <ac:chgData name="Chavarria, Nicole" userId="S::nchavarria@deloitte.com::59465f16-f52e-4fac-9696-8351220b84a8" providerId="AD" clId="Web-{58E98F6D-6880-4E95-85D3-8760A1229BAE}" dt="2024-04-08T21:07:42.210" v="101"/>
          <ac:graphicFrameMkLst>
            <pc:docMk/>
            <pc:sldMk cId="0" sldId="522"/>
            <ac:graphicFrameMk id="5" creationId="{00000000-0000-0000-0000-000000000000}"/>
          </ac:graphicFrameMkLst>
        </pc:graphicFrameChg>
      </pc:sldChg>
      <pc:sldChg chg="modSp">
        <pc:chgData name="Chavarria, Nicole" userId="S::nchavarria@deloitte.com::59465f16-f52e-4fac-9696-8351220b84a8" providerId="AD" clId="Web-{58E98F6D-6880-4E95-85D3-8760A1229BAE}" dt="2024-04-08T20:45:00.887" v="1"/>
        <pc:sldMkLst>
          <pc:docMk/>
          <pc:sldMk cId="755316252" sldId="2088197599"/>
        </pc:sldMkLst>
        <pc:graphicFrameChg chg="mod modGraphic">
          <ac:chgData name="Chavarria, Nicole" userId="S::nchavarria@deloitte.com::59465f16-f52e-4fac-9696-8351220b84a8" providerId="AD" clId="Web-{58E98F6D-6880-4E95-85D3-8760A1229BAE}" dt="2024-04-08T20:45:00.887" v="1"/>
          <ac:graphicFrameMkLst>
            <pc:docMk/>
            <pc:sldMk cId="755316252" sldId="2088197599"/>
            <ac:graphicFrameMk id="23" creationId="{7E8D589F-81F7-4213-87F0-E9771C3F59E4}"/>
          </ac:graphicFrameMkLst>
        </pc:graphicFrameChg>
      </pc:sldChg>
      <pc:sldChg chg="modSp">
        <pc:chgData name="Chavarria, Nicole" userId="S::nchavarria@deloitte.com::59465f16-f52e-4fac-9696-8351220b84a8" providerId="AD" clId="Web-{58E98F6D-6880-4E95-85D3-8760A1229BAE}" dt="2024-04-08T20:57:42.466" v="67" actId="20577"/>
        <pc:sldMkLst>
          <pc:docMk/>
          <pc:sldMk cId="1346836963" sldId="2147472359"/>
        </pc:sldMkLst>
        <pc:spChg chg="mod">
          <ac:chgData name="Chavarria, Nicole" userId="S::nchavarria@deloitte.com::59465f16-f52e-4fac-9696-8351220b84a8" providerId="AD" clId="Web-{58E98F6D-6880-4E95-85D3-8760A1229BAE}" dt="2024-04-08T20:57:42.466" v="67" actId="20577"/>
          <ac:spMkLst>
            <pc:docMk/>
            <pc:sldMk cId="1346836963" sldId="2147472359"/>
            <ac:spMk id="22" creationId="{A5EAC87E-9257-4219-BCB9-05A757279EC5}"/>
          </ac:spMkLst>
        </pc:spChg>
        <pc:graphicFrameChg chg="mod modGraphic">
          <ac:chgData name="Chavarria, Nicole" userId="S::nchavarria@deloitte.com::59465f16-f52e-4fac-9696-8351220b84a8" providerId="AD" clId="Web-{58E98F6D-6880-4E95-85D3-8760A1229BAE}" dt="2024-04-08T20:52:47.360" v="54"/>
          <ac:graphicFrameMkLst>
            <pc:docMk/>
            <pc:sldMk cId="1346836963" sldId="2147472359"/>
            <ac:graphicFrameMk id="23" creationId="{7E8D589F-81F7-4213-87F0-E9771C3F59E4}"/>
          </ac:graphicFrameMkLst>
        </pc:graphicFrameChg>
      </pc:sldChg>
      <pc:sldChg chg="addSp delSp">
        <pc:chgData name="Chavarria, Nicole" userId="S::nchavarria@deloitte.com::59465f16-f52e-4fac-9696-8351220b84a8" providerId="AD" clId="Web-{58E98F6D-6880-4E95-85D3-8760A1229BAE}" dt="2024-04-08T20:57:11.606" v="62"/>
        <pc:sldMkLst>
          <pc:docMk/>
          <pc:sldMk cId="3113105376" sldId="2147472360"/>
        </pc:sldMkLst>
        <pc:spChg chg="add del">
          <ac:chgData name="Chavarria, Nicole" userId="S::nchavarria@deloitte.com::59465f16-f52e-4fac-9696-8351220b84a8" providerId="AD" clId="Web-{58E98F6D-6880-4E95-85D3-8760A1229BAE}" dt="2024-04-08T20:57:11.606" v="62"/>
          <ac:spMkLst>
            <pc:docMk/>
            <pc:sldMk cId="3113105376" sldId="2147472360"/>
            <ac:spMk id="22" creationId="{A5EAC87E-9257-4219-BCB9-05A757279EC5}"/>
          </ac:spMkLst>
        </pc:spChg>
      </pc:sldChg>
      <pc:sldChg chg="delSp modSp">
        <pc:chgData name="Chavarria, Nicole" userId="S::nchavarria@deloitte.com::59465f16-f52e-4fac-9696-8351220b84a8" providerId="AD" clId="Web-{58E98F6D-6880-4E95-85D3-8760A1229BAE}" dt="2024-04-08T20:57:24.809" v="65" actId="20577"/>
        <pc:sldMkLst>
          <pc:docMk/>
          <pc:sldMk cId="60545516" sldId="2147472361"/>
        </pc:sldMkLst>
        <pc:spChg chg="del mod">
          <ac:chgData name="Chavarria, Nicole" userId="S::nchavarria@deloitte.com::59465f16-f52e-4fac-9696-8351220b84a8" providerId="AD" clId="Web-{58E98F6D-6880-4E95-85D3-8760A1229BAE}" dt="2024-04-08T20:47:10.518" v="48"/>
          <ac:spMkLst>
            <pc:docMk/>
            <pc:sldMk cId="60545516" sldId="2147472361"/>
            <ac:spMk id="2" creationId="{75C2EA3E-DBEF-F003-B7B6-FE3646F2F22D}"/>
          </ac:spMkLst>
        </pc:spChg>
        <pc:spChg chg="mod">
          <ac:chgData name="Chavarria, Nicole" userId="S::nchavarria@deloitte.com::59465f16-f52e-4fac-9696-8351220b84a8" providerId="AD" clId="Web-{58E98F6D-6880-4E95-85D3-8760A1229BAE}" dt="2024-04-08T20:57:24.809" v="65" actId="20577"/>
          <ac:spMkLst>
            <pc:docMk/>
            <pc:sldMk cId="60545516" sldId="2147472361"/>
            <ac:spMk id="22" creationId="{A5EAC87E-9257-4219-BCB9-05A757279EC5}"/>
          </ac:spMkLst>
        </pc:spChg>
        <pc:graphicFrameChg chg="mod modGraphic">
          <ac:chgData name="Chavarria, Nicole" userId="S::nchavarria@deloitte.com::59465f16-f52e-4fac-9696-8351220b84a8" providerId="AD" clId="Web-{58E98F6D-6880-4E95-85D3-8760A1229BAE}" dt="2024-04-08T20:52:36.063" v="52"/>
          <ac:graphicFrameMkLst>
            <pc:docMk/>
            <pc:sldMk cId="60545516" sldId="2147472361"/>
            <ac:graphicFrameMk id="23" creationId="{7E8D589F-81F7-4213-87F0-E9771C3F59E4}"/>
          </ac:graphicFrameMkLst>
        </pc:graphicFrameChg>
      </pc:sldChg>
      <pc:sldChg chg="addSp delSp modSp">
        <pc:chgData name="Chavarria, Nicole" userId="S::nchavarria@deloitte.com::59465f16-f52e-4fac-9696-8351220b84a8" providerId="AD" clId="Web-{58E98F6D-6880-4E95-85D3-8760A1229BAE}" dt="2024-04-08T21:02:21.994" v="92"/>
        <pc:sldMkLst>
          <pc:docMk/>
          <pc:sldMk cId="3290769511" sldId="2147472362"/>
        </pc:sldMkLst>
        <pc:spChg chg="add del mod">
          <ac:chgData name="Chavarria, Nicole" userId="S::nchavarria@deloitte.com::59465f16-f52e-4fac-9696-8351220b84a8" providerId="AD" clId="Web-{58E98F6D-6880-4E95-85D3-8760A1229BAE}" dt="2024-04-08T21:01:46.383" v="86"/>
          <ac:spMkLst>
            <pc:docMk/>
            <pc:sldMk cId="3290769511" sldId="2147472362"/>
            <ac:spMk id="2" creationId="{2D215361-10FE-5CB7-D25A-F21993FAD6D4}"/>
          </ac:spMkLst>
        </pc:spChg>
        <pc:spChg chg="add del">
          <ac:chgData name="Chavarria, Nicole" userId="S::nchavarria@deloitte.com::59465f16-f52e-4fac-9696-8351220b84a8" providerId="AD" clId="Web-{58E98F6D-6880-4E95-85D3-8760A1229BAE}" dt="2024-04-08T20:57:06.449" v="61"/>
          <ac:spMkLst>
            <pc:docMk/>
            <pc:sldMk cId="3290769511" sldId="2147472362"/>
            <ac:spMk id="22" creationId="{A5EAC87E-9257-4219-BCB9-05A757279EC5}"/>
          </ac:spMkLst>
        </pc:spChg>
        <pc:graphicFrameChg chg="mod modGraphic">
          <ac:chgData name="Chavarria, Nicole" userId="S::nchavarria@deloitte.com::59465f16-f52e-4fac-9696-8351220b84a8" providerId="AD" clId="Web-{58E98F6D-6880-4E95-85D3-8760A1229BAE}" dt="2024-04-08T21:02:21.994" v="92"/>
          <ac:graphicFrameMkLst>
            <pc:docMk/>
            <pc:sldMk cId="3290769511" sldId="2147472362"/>
            <ac:graphicFrameMk id="23" creationId="{7E8D589F-81F7-4213-87F0-E9771C3F59E4}"/>
          </ac:graphicFrameMkLst>
        </pc:graphicFrameChg>
      </pc:sldChg>
      <pc:sldChg chg="modSp">
        <pc:chgData name="Chavarria, Nicole" userId="S::nchavarria@deloitte.com::59465f16-f52e-4fac-9696-8351220b84a8" providerId="AD" clId="Web-{58E98F6D-6880-4E95-85D3-8760A1229BAE}" dt="2024-04-08T20:57:36.060" v="66" actId="20577"/>
        <pc:sldMkLst>
          <pc:docMk/>
          <pc:sldMk cId="3942490418" sldId="2147472363"/>
        </pc:sldMkLst>
        <pc:spChg chg="mod">
          <ac:chgData name="Chavarria, Nicole" userId="S::nchavarria@deloitte.com::59465f16-f52e-4fac-9696-8351220b84a8" providerId="AD" clId="Web-{58E98F6D-6880-4E95-85D3-8760A1229BAE}" dt="2024-04-08T20:57:36.060" v="66" actId="20577"/>
          <ac:spMkLst>
            <pc:docMk/>
            <pc:sldMk cId="3942490418" sldId="2147472363"/>
            <ac:spMk id="22" creationId="{A5EAC87E-9257-4219-BCB9-05A757279EC5}"/>
          </ac:spMkLst>
        </pc:spChg>
      </pc:sldChg>
      <pc:sldChg chg="modSp">
        <pc:chgData name="Chavarria, Nicole" userId="S::nchavarria@deloitte.com::59465f16-f52e-4fac-9696-8351220b84a8" providerId="AD" clId="Web-{58E98F6D-6880-4E95-85D3-8760A1229BAE}" dt="2024-04-08T20:57:12.996" v="64"/>
        <pc:sldMkLst>
          <pc:docMk/>
          <pc:sldMk cId="1524005427" sldId="2147472364"/>
        </pc:sldMkLst>
        <pc:graphicFrameChg chg="mod modGraphic">
          <ac:chgData name="Chavarria, Nicole" userId="S::nchavarria@deloitte.com::59465f16-f52e-4fac-9696-8351220b84a8" providerId="AD" clId="Web-{58E98F6D-6880-4E95-85D3-8760A1229BAE}" dt="2024-04-08T20:57:12.996" v="64"/>
          <ac:graphicFrameMkLst>
            <pc:docMk/>
            <pc:sldMk cId="1524005427" sldId="2147472364"/>
            <ac:graphicFrameMk id="23" creationId="{7E8D589F-81F7-4213-87F0-E9771C3F59E4}"/>
          </ac:graphicFrameMkLst>
        </pc:graphicFrameChg>
      </pc:sldChg>
      <pc:sldChg chg="modSp">
        <pc:chgData name="Chavarria, Nicole" userId="S::nchavarria@deloitte.com::59465f16-f52e-4fac-9696-8351220b84a8" providerId="AD" clId="Web-{58E98F6D-6880-4E95-85D3-8760A1229BAE}" dt="2024-04-08T20:57:57.889" v="70" actId="20577"/>
        <pc:sldMkLst>
          <pc:docMk/>
          <pc:sldMk cId="2450963468" sldId="2147472365"/>
        </pc:sldMkLst>
        <pc:spChg chg="mod">
          <ac:chgData name="Chavarria, Nicole" userId="S::nchavarria@deloitte.com::59465f16-f52e-4fac-9696-8351220b84a8" providerId="AD" clId="Web-{58E98F6D-6880-4E95-85D3-8760A1229BAE}" dt="2024-04-08T20:57:57.889" v="70" actId="20577"/>
          <ac:spMkLst>
            <pc:docMk/>
            <pc:sldMk cId="2450963468" sldId="2147472365"/>
            <ac:spMk id="22" creationId="{A5EAC87E-9257-4219-BCB9-05A757279EC5}"/>
          </ac:spMkLst>
        </pc:spChg>
      </pc:sldChg>
      <pc:sldChg chg="modSp">
        <pc:chgData name="Chavarria, Nicole" userId="S::nchavarria@deloitte.com::59465f16-f52e-4fac-9696-8351220b84a8" providerId="AD" clId="Web-{58E98F6D-6880-4E95-85D3-8760A1229BAE}" dt="2024-04-08T20:58:04.217" v="71" actId="20577"/>
        <pc:sldMkLst>
          <pc:docMk/>
          <pc:sldMk cId="2831691344" sldId="2147472367"/>
        </pc:sldMkLst>
        <pc:spChg chg="mod">
          <ac:chgData name="Chavarria, Nicole" userId="S::nchavarria@deloitte.com::59465f16-f52e-4fac-9696-8351220b84a8" providerId="AD" clId="Web-{58E98F6D-6880-4E95-85D3-8760A1229BAE}" dt="2024-04-08T20:58:04.217" v="71" actId="20577"/>
          <ac:spMkLst>
            <pc:docMk/>
            <pc:sldMk cId="2831691344" sldId="2147472367"/>
            <ac:spMk id="22" creationId="{A5EAC87E-9257-4219-BCB9-05A757279EC5}"/>
          </ac:spMkLst>
        </pc:spChg>
      </pc:sldChg>
      <pc:sldChg chg="modSp">
        <pc:chgData name="Chavarria, Nicole" userId="S::nchavarria@deloitte.com::59465f16-f52e-4fac-9696-8351220b84a8" providerId="AD" clId="Web-{58E98F6D-6880-4E95-85D3-8760A1229BAE}" dt="2024-04-08T20:58:09.670" v="72" actId="20577"/>
        <pc:sldMkLst>
          <pc:docMk/>
          <pc:sldMk cId="866751995" sldId="2147472369"/>
        </pc:sldMkLst>
        <pc:spChg chg="mod">
          <ac:chgData name="Chavarria, Nicole" userId="S::nchavarria@deloitte.com::59465f16-f52e-4fac-9696-8351220b84a8" providerId="AD" clId="Web-{58E98F6D-6880-4E95-85D3-8760A1229BAE}" dt="2024-04-08T20:58:09.670" v="72" actId="20577"/>
          <ac:spMkLst>
            <pc:docMk/>
            <pc:sldMk cId="866751995" sldId="2147472369"/>
            <ac:spMk id="22" creationId="{A5EAC87E-9257-4219-BCB9-05A757279EC5}"/>
          </ac:spMkLst>
        </pc:spChg>
      </pc:sldChg>
      <pc:sldChg chg="modSp">
        <pc:chgData name="Chavarria, Nicole" userId="S::nchavarria@deloitte.com::59465f16-f52e-4fac-9696-8351220b84a8" providerId="AD" clId="Web-{58E98F6D-6880-4E95-85D3-8760A1229BAE}" dt="2024-04-08T20:58:21.655" v="74" actId="20577"/>
        <pc:sldMkLst>
          <pc:docMk/>
          <pc:sldMk cId="274957437" sldId="2147472370"/>
        </pc:sldMkLst>
        <pc:spChg chg="mod">
          <ac:chgData name="Chavarria, Nicole" userId="S::nchavarria@deloitte.com::59465f16-f52e-4fac-9696-8351220b84a8" providerId="AD" clId="Web-{58E98F6D-6880-4E95-85D3-8760A1229BAE}" dt="2024-04-08T20:58:21.655" v="74" actId="20577"/>
          <ac:spMkLst>
            <pc:docMk/>
            <pc:sldMk cId="274957437" sldId="2147472370"/>
            <ac:spMk id="22" creationId="{A5EAC87E-9257-4219-BCB9-05A757279EC5}"/>
          </ac:spMkLst>
        </pc:spChg>
      </pc:sldChg>
      <pc:sldChg chg="new">
        <pc:chgData name="Chavarria, Nicole" userId="S::nchavarria@deloitte.com::59465f16-f52e-4fac-9696-8351220b84a8" providerId="AD" clId="Web-{58E98F6D-6880-4E95-85D3-8760A1229BAE}" dt="2024-04-08T21:01:23.460" v="82"/>
        <pc:sldMkLst>
          <pc:docMk/>
          <pc:sldMk cId="625727762" sldId="2147472371"/>
        </pc:sldMkLst>
      </pc:sldChg>
      <pc:sldChg chg="modSp">
        <pc:chgData name="Chavarria, Nicole" userId="S::nchavarria@deloitte.com::59465f16-f52e-4fac-9696-8351220b84a8" providerId="AD" clId="Web-{58E98F6D-6880-4E95-85D3-8760A1229BAE}" dt="2024-04-08T21:03:59.169" v="96"/>
        <pc:sldMkLst>
          <pc:docMk/>
          <pc:sldMk cId="736632594" sldId="2147472371"/>
        </pc:sldMkLst>
        <pc:graphicFrameChg chg="mod modGraphic">
          <ac:chgData name="Chavarria, Nicole" userId="S::nchavarria@deloitte.com::59465f16-f52e-4fac-9696-8351220b84a8" providerId="AD" clId="Web-{58E98F6D-6880-4E95-85D3-8760A1229BAE}" dt="2024-04-08T21:03:59.169" v="96"/>
          <ac:graphicFrameMkLst>
            <pc:docMk/>
            <pc:sldMk cId="736632594" sldId="2147472371"/>
            <ac:graphicFrameMk id="23" creationId="{7E8D589F-81F7-4213-87F0-E9771C3F59E4}"/>
          </ac:graphicFrameMkLst>
        </pc:graphicFrameChg>
      </pc:sldChg>
      <pc:sldChg chg="delSp modSp">
        <pc:chgData name="Chavarria, Nicole" userId="S::nchavarria@deloitte.com::59465f16-f52e-4fac-9696-8351220b84a8" providerId="AD" clId="Web-{58E98F6D-6880-4E95-85D3-8760A1229BAE}" dt="2024-04-08T21:00:22.254" v="75"/>
        <pc:sldMkLst>
          <pc:docMk/>
          <pc:sldMk cId="1876732044" sldId="2147472371"/>
        </pc:sldMkLst>
        <pc:spChg chg="del">
          <ac:chgData name="Chavarria, Nicole" userId="S::nchavarria@deloitte.com::59465f16-f52e-4fac-9696-8351220b84a8" providerId="AD" clId="Web-{58E98F6D-6880-4E95-85D3-8760A1229BAE}" dt="2024-04-08T21:00:22.254" v="75"/>
          <ac:spMkLst>
            <pc:docMk/>
            <pc:sldMk cId="1876732044" sldId="2147472371"/>
            <ac:spMk id="2" creationId="{75C2EA3E-DBEF-F003-B7B6-FE3646F2F22D}"/>
          </ac:spMkLst>
        </pc:spChg>
        <pc:spChg chg="mod">
          <ac:chgData name="Chavarria, Nicole" userId="S::nchavarria@deloitte.com::59465f16-f52e-4fac-9696-8351220b84a8" providerId="AD" clId="Web-{58E98F6D-6880-4E95-85D3-8760A1229BAE}" dt="2024-04-08T20:58:16.686" v="73" actId="20577"/>
          <ac:spMkLst>
            <pc:docMk/>
            <pc:sldMk cId="1876732044" sldId="2147472371"/>
            <ac:spMk id="22" creationId="{A5EAC87E-9257-4219-BCB9-05A757279EC5}"/>
          </ac:spMkLst>
        </pc:spChg>
      </pc:sldChg>
    </pc:docChg>
  </pc:docChgLst>
  <pc:docChgLst>
    <pc:chgData name="Chavarria, Nicole" userId="59465f16-f52e-4fac-9696-8351220b84a8" providerId="ADAL" clId="{82CE57D9-BF03-40FA-9B14-2CCB2D3C336D}"/>
    <pc:docChg chg="modSld">
      <pc:chgData name="Chavarria, Nicole" userId="59465f16-f52e-4fac-9696-8351220b84a8" providerId="ADAL" clId="{82CE57D9-BF03-40FA-9B14-2CCB2D3C336D}" dt="2024-04-12T15:15:49.731" v="18" actId="20577"/>
      <pc:docMkLst>
        <pc:docMk/>
      </pc:docMkLst>
      <pc:sldChg chg="modSp mod">
        <pc:chgData name="Chavarria, Nicole" userId="59465f16-f52e-4fac-9696-8351220b84a8" providerId="ADAL" clId="{82CE57D9-BF03-40FA-9B14-2CCB2D3C336D}" dt="2024-04-05T19:03:15.544" v="4" actId="255"/>
        <pc:sldMkLst>
          <pc:docMk/>
          <pc:sldMk cId="755316252" sldId="2088197599"/>
        </pc:sldMkLst>
        <pc:graphicFrameChg chg="mod modGraphic">
          <ac:chgData name="Chavarria, Nicole" userId="59465f16-f52e-4fac-9696-8351220b84a8" providerId="ADAL" clId="{82CE57D9-BF03-40FA-9B14-2CCB2D3C336D}" dt="2024-04-05T19:03:15.544" v="4" actId="255"/>
          <ac:graphicFrameMkLst>
            <pc:docMk/>
            <pc:sldMk cId="755316252" sldId="2088197599"/>
            <ac:graphicFrameMk id="23" creationId="{7E8D589F-81F7-4213-87F0-E9771C3F59E4}"/>
          </ac:graphicFrameMkLst>
        </pc:graphicFrameChg>
      </pc:sldChg>
      <pc:sldChg chg="modSp mod">
        <pc:chgData name="Chavarria, Nicole" userId="59465f16-f52e-4fac-9696-8351220b84a8" providerId="ADAL" clId="{82CE57D9-BF03-40FA-9B14-2CCB2D3C336D}" dt="2024-04-05T19:02:13.416" v="1" actId="1076"/>
        <pc:sldMkLst>
          <pc:docMk/>
          <pc:sldMk cId="1121746069" sldId="2147472356"/>
        </pc:sldMkLst>
        <pc:spChg chg="mod">
          <ac:chgData name="Chavarria, Nicole" userId="59465f16-f52e-4fac-9696-8351220b84a8" providerId="ADAL" clId="{82CE57D9-BF03-40FA-9B14-2CCB2D3C336D}" dt="2024-04-05T19:02:13.416" v="1" actId="1076"/>
          <ac:spMkLst>
            <pc:docMk/>
            <pc:sldMk cId="1121746069" sldId="2147472356"/>
            <ac:spMk id="22" creationId="{AF825DFA-0B1D-514E-821F-B8FB7DBB549C}"/>
          </ac:spMkLst>
        </pc:spChg>
      </pc:sldChg>
      <pc:sldChg chg="modSp mod">
        <pc:chgData name="Chavarria, Nicole" userId="59465f16-f52e-4fac-9696-8351220b84a8" providerId="ADAL" clId="{82CE57D9-BF03-40FA-9B14-2CCB2D3C336D}" dt="2024-04-12T15:15:49.731" v="18" actId="20577"/>
        <pc:sldMkLst>
          <pc:docMk/>
          <pc:sldMk cId="60545516" sldId="2147472361"/>
        </pc:sldMkLst>
        <pc:graphicFrameChg chg="modGraphic">
          <ac:chgData name="Chavarria, Nicole" userId="59465f16-f52e-4fac-9696-8351220b84a8" providerId="ADAL" clId="{82CE57D9-BF03-40FA-9B14-2CCB2D3C336D}" dt="2024-04-12T15:15:49.731" v="18" actId="20577"/>
          <ac:graphicFrameMkLst>
            <pc:docMk/>
            <pc:sldMk cId="60545516" sldId="2147472361"/>
            <ac:graphicFrameMk id="23" creationId="{7E8D589F-81F7-4213-87F0-E9771C3F59E4}"/>
          </ac:graphicFrameMkLst>
        </pc:graphicFrameChg>
      </pc:sldChg>
    </pc:docChg>
  </pc:docChgLst>
  <pc:docChgLst>
    <pc:chgData name="Mercado, Andrea Marisol" userId="S::andmercado@deloitte.com::86282f0d-01fd-4acc-9387-9717b48c3e5d" providerId="AD" clId="Web-{E9AE4F2C-2579-78BB-640B-DF3C860155C9}"/>
    <pc:docChg chg="addSld delSld modSld">
      <pc:chgData name="Mercado, Andrea Marisol" userId="S::andmercado@deloitte.com::86282f0d-01fd-4acc-9387-9717b48c3e5d" providerId="AD" clId="Web-{E9AE4F2C-2579-78BB-640B-DF3C860155C9}" dt="2024-04-05T16:37:36.624" v="31" actId="1076"/>
      <pc:docMkLst>
        <pc:docMk/>
      </pc:docMkLst>
      <pc:sldChg chg="addSp delSp modSp">
        <pc:chgData name="Mercado, Andrea Marisol" userId="S::andmercado@deloitte.com::86282f0d-01fd-4acc-9387-9717b48c3e5d" providerId="AD" clId="Web-{E9AE4F2C-2579-78BB-640B-DF3C860155C9}" dt="2024-04-05T16:37:36.624" v="31" actId="1076"/>
        <pc:sldMkLst>
          <pc:docMk/>
          <pc:sldMk cId="755316252" sldId="2088197599"/>
        </pc:sldMkLst>
        <pc:graphicFrameChg chg="add del mod">
          <ac:chgData name="Mercado, Andrea Marisol" userId="S::andmercado@deloitte.com::86282f0d-01fd-4acc-9387-9717b48c3e5d" providerId="AD" clId="Web-{E9AE4F2C-2579-78BB-640B-DF3C860155C9}" dt="2024-04-05T16:36:18.808" v="10"/>
          <ac:graphicFrameMkLst>
            <pc:docMk/>
            <pc:sldMk cId="755316252" sldId="2088197599"/>
            <ac:graphicFrameMk id="4" creationId="{E6C0EC43-D3ED-EF63-7A70-2D3360B66C48}"/>
          </ac:graphicFrameMkLst>
        </pc:graphicFrameChg>
        <pc:graphicFrameChg chg="mod modGraphic">
          <ac:chgData name="Mercado, Andrea Marisol" userId="S::andmercado@deloitte.com::86282f0d-01fd-4acc-9387-9717b48c3e5d" providerId="AD" clId="Web-{E9AE4F2C-2579-78BB-640B-DF3C860155C9}" dt="2024-04-05T16:37:36.624" v="31" actId="1076"/>
          <ac:graphicFrameMkLst>
            <pc:docMk/>
            <pc:sldMk cId="755316252" sldId="2088197599"/>
            <ac:graphicFrameMk id="23" creationId="{7E8D589F-81F7-4213-87F0-E9771C3F59E4}"/>
          </ac:graphicFrameMkLst>
        </pc:graphicFrameChg>
        <pc:graphicFrameChg chg="add del mod modGraphic">
          <ac:chgData name="Mercado, Andrea Marisol" userId="S::andmercado@deloitte.com::86282f0d-01fd-4acc-9387-9717b48c3e5d" providerId="AD" clId="Web-{E9AE4F2C-2579-78BB-640B-DF3C860155C9}" dt="2024-04-05T16:36:38.496" v="17"/>
          <ac:graphicFrameMkLst>
            <pc:docMk/>
            <pc:sldMk cId="755316252" sldId="2088197599"/>
            <ac:graphicFrameMk id="24" creationId="{155F3EFF-79B6-469A-9AA4-B8AD4E28AB71}"/>
          </ac:graphicFrameMkLst>
        </pc:graphicFrameChg>
      </pc:sldChg>
      <pc:sldChg chg="addSp delSp modSp new del">
        <pc:chgData name="Mercado, Andrea Marisol" userId="S::andmercado@deloitte.com::86282f0d-01fd-4acc-9387-9717b48c3e5d" providerId="AD" clId="Web-{E9AE4F2C-2579-78BB-640B-DF3C860155C9}" dt="2024-04-05T16:36:28.808" v="12"/>
        <pc:sldMkLst>
          <pc:docMk/>
          <pc:sldMk cId="1151088196" sldId="2147472357"/>
        </pc:sldMkLst>
        <pc:graphicFrameChg chg="add del mod modGraphic">
          <ac:chgData name="Mercado, Andrea Marisol" userId="S::andmercado@deloitte.com::86282f0d-01fd-4acc-9387-9717b48c3e5d" providerId="AD" clId="Web-{E9AE4F2C-2579-78BB-640B-DF3C860155C9}" dt="2024-04-05T16:35:50.978" v="5"/>
          <ac:graphicFrameMkLst>
            <pc:docMk/>
            <pc:sldMk cId="1151088196" sldId="2147472357"/>
            <ac:graphicFrameMk id="5" creationId="{43984E81-9C36-16ED-80CF-E12B5A1143B3}"/>
          </ac:graphicFrameMkLst>
        </pc:graphicFrameChg>
      </pc:sldChg>
      <pc:sldChg chg="add del replId">
        <pc:chgData name="Mercado, Andrea Marisol" userId="S::andmercado@deloitte.com::86282f0d-01fd-4acc-9387-9717b48c3e5d" providerId="AD" clId="Web-{E9AE4F2C-2579-78BB-640B-DF3C860155C9}" dt="2024-04-05T16:36:13.932" v="9"/>
        <pc:sldMkLst>
          <pc:docMk/>
          <pc:sldMk cId="1683714254" sldId="2147472358"/>
        </pc:sldMkLst>
      </pc:sldChg>
      <pc:sldChg chg="delSp modSp add replId">
        <pc:chgData name="Mercado, Andrea Marisol" userId="S::andmercado@deloitte.com::86282f0d-01fd-4acc-9387-9717b48c3e5d" providerId="AD" clId="Web-{E9AE4F2C-2579-78BB-640B-DF3C860155C9}" dt="2024-04-05T16:37:11.498" v="24" actId="1076"/>
        <pc:sldMkLst>
          <pc:docMk/>
          <pc:sldMk cId="3856161989" sldId="2147472358"/>
        </pc:sldMkLst>
        <pc:graphicFrameChg chg="del">
          <ac:chgData name="Mercado, Andrea Marisol" userId="S::andmercado@deloitte.com::86282f0d-01fd-4acc-9387-9717b48c3e5d" providerId="AD" clId="Web-{E9AE4F2C-2579-78BB-640B-DF3C860155C9}" dt="2024-04-05T16:36:42.902" v="18"/>
          <ac:graphicFrameMkLst>
            <pc:docMk/>
            <pc:sldMk cId="3856161989" sldId="2147472358"/>
            <ac:graphicFrameMk id="23" creationId="{7E8D589F-81F7-4213-87F0-E9771C3F59E4}"/>
          </ac:graphicFrameMkLst>
        </pc:graphicFrameChg>
        <pc:graphicFrameChg chg="mod modGraphic">
          <ac:chgData name="Mercado, Andrea Marisol" userId="S::andmercado@deloitte.com::86282f0d-01fd-4acc-9387-9717b48c3e5d" providerId="AD" clId="Web-{E9AE4F2C-2579-78BB-640B-DF3C860155C9}" dt="2024-04-05T16:37:11.498" v="24" actId="1076"/>
          <ac:graphicFrameMkLst>
            <pc:docMk/>
            <pc:sldMk cId="3856161989" sldId="2147472358"/>
            <ac:graphicFrameMk id="24" creationId="{155F3EFF-79B6-469A-9AA4-B8AD4E28AB71}"/>
          </ac:graphicFrameMkLst>
        </pc:graphicFrameChg>
      </pc:sldChg>
    </pc:docChg>
  </pc:docChgLst>
  <pc:docChgLst>
    <pc:chgData name="Jarcik, Andrew" userId="721e7551-2db4-4102-b3c1-66f8e1f48f72" providerId="ADAL" clId="{FCA80545-A11E-4CF6-AF97-918F608BB386}"/>
    <pc:docChg chg="undo custSel delSld modSld">
      <pc:chgData name="Jarcik, Andrew" userId="721e7551-2db4-4102-b3c1-66f8e1f48f72" providerId="ADAL" clId="{FCA80545-A11E-4CF6-AF97-918F608BB386}" dt="2024-04-19T16:07:24.329" v="1353" actId="20577"/>
      <pc:docMkLst>
        <pc:docMk/>
      </pc:docMkLst>
      <pc:sldChg chg="del">
        <pc:chgData name="Jarcik, Andrew" userId="721e7551-2db4-4102-b3c1-66f8e1f48f72" providerId="ADAL" clId="{FCA80545-A11E-4CF6-AF97-918F608BB386}" dt="2024-04-08T21:01:28.976" v="173" actId="2696"/>
        <pc:sldMkLst>
          <pc:docMk/>
          <pc:sldMk cId="1785490087" sldId="370"/>
        </pc:sldMkLst>
      </pc:sldChg>
      <pc:sldChg chg="modSp mod">
        <pc:chgData name="Jarcik, Andrew" userId="721e7551-2db4-4102-b3c1-66f8e1f48f72" providerId="ADAL" clId="{FCA80545-A11E-4CF6-AF97-918F608BB386}" dt="2024-04-19T15:24:32.662" v="391" actId="14100"/>
        <pc:sldMkLst>
          <pc:docMk/>
          <pc:sldMk cId="0" sldId="522"/>
        </pc:sldMkLst>
        <pc:spChg chg="mod">
          <ac:chgData name="Jarcik, Andrew" userId="721e7551-2db4-4102-b3c1-66f8e1f48f72" providerId="ADAL" clId="{FCA80545-A11E-4CF6-AF97-918F608BB386}" dt="2024-04-19T15:24:32.662" v="391" actId="14100"/>
          <ac:spMkLst>
            <pc:docMk/>
            <pc:sldMk cId="0" sldId="522"/>
            <ac:spMk id="831717" creationId="{00000000-0000-0000-0000-000000000000}"/>
          </ac:spMkLst>
        </pc:spChg>
      </pc:sldChg>
      <pc:sldChg chg="addSp delSp modSp mod">
        <pc:chgData name="Jarcik, Andrew" userId="721e7551-2db4-4102-b3c1-66f8e1f48f72" providerId="ADAL" clId="{FCA80545-A11E-4CF6-AF97-918F608BB386}" dt="2024-04-08T21:04:31.850" v="187" actId="1076"/>
        <pc:sldMkLst>
          <pc:docMk/>
          <pc:sldMk cId="3856161989" sldId="2147472358"/>
        </pc:sldMkLst>
        <pc:spChg chg="add mod">
          <ac:chgData name="Jarcik, Andrew" userId="721e7551-2db4-4102-b3c1-66f8e1f48f72" providerId="ADAL" clId="{FCA80545-A11E-4CF6-AF97-918F608BB386}" dt="2024-04-08T21:03:28.621" v="175"/>
          <ac:spMkLst>
            <pc:docMk/>
            <pc:sldMk cId="3856161989" sldId="2147472358"/>
            <ac:spMk id="7" creationId="{7C656570-2705-E06A-E823-F6D676721D42}"/>
          </ac:spMkLst>
        </pc:spChg>
        <pc:spChg chg="mod">
          <ac:chgData name="Jarcik, Andrew" userId="721e7551-2db4-4102-b3c1-66f8e1f48f72" providerId="ADAL" clId="{FCA80545-A11E-4CF6-AF97-918F608BB386}" dt="2024-04-08T20:56:33.210" v="94" actId="20577"/>
          <ac:spMkLst>
            <pc:docMk/>
            <pc:sldMk cId="3856161989" sldId="2147472358"/>
            <ac:spMk id="9" creationId="{588F215C-10A4-486A-A5A7-B7B0BF7B2FE7}"/>
          </ac:spMkLst>
        </pc:spChg>
        <pc:spChg chg="del mod">
          <ac:chgData name="Jarcik, Andrew" userId="721e7551-2db4-4102-b3c1-66f8e1f48f72" providerId="ADAL" clId="{FCA80545-A11E-4CF6-AF97-918F608BB386}" dt="2024-04-08T20:56:20.168" v="90" actId="478"/>
          <ac:spMkLst>
            <pc:docMk/>
            <pc:sldMk cId="3856161989" sldId="2147472358"/>
            <ac:spMk id="22" creationId="{A5EAC87E-9257-4219-BCB9-05A757279EC5}"/>
          </ac:spMkLst>
        </pc:spChg>
        <pc:graphicFrameChg chg="mod modGraphic">
          <ac:chgData name="Jarcik, Andrew" userId="721e7551-2db4-4102-b3c1-66f8e1f48f72" providerId="ADAL" clId="{FCA80545-A11E-4CF6-AF97-918F608BB386}" dt="2024-04-08T21:04:25.181" v="185" actId="1076"/>
          <ac:graphicFrameMkLst>
            <pc:docMk/>
            <pc:sldMk cId="3856161989" sldId="2147472358"/>
            <ac:graphicFrameMk id="24" creationId="{155F3EFF-79B6-469A-9AA4-B8AD4E28AB71}"/>
          </ac:graphicFrameMkLst>
        </pc:graphicFrameChg>
        <pc:picChg chg="add mod">
          <ac:chgData name="Jarcik, Andrew" userId="721e7551-2db4-4102-b3c1-66f8e1f48f72" providerId="ADAL" clId="{FCA80545-A11E-4CF6-AF97-918F608BB386}" dt="2024-04-08T21:04:28.819" v="186" actId="1076"/>
          <ac:picMkLst>
            <pc:docMk/>
            <pc:sldMk cId="3856161989" sldId="2147472358"/>
            <ac:picMk id="4" creationId="{856BB6BB-B726-B504-9CCF-C10BE2317BFB}"/>
          </ac:picMkLst>
        </pc:picChg>
        <pc:picChg chg="add mod">
          <ac:chgData name="Jarcik, Andrew" userId="721e7551-2db4-4102-b3c1-66f8e1f48f72" providerId="ADAL" clId="{FCA80545-A11E-4CF6-AF97-918F608BB386}" dt="2024-04-08T21:04:31.850" v="187" actId="1076"/>
          <ac:picMkLst>
            <pc:docMk/>
            <pc:sldMk cId="3856161989" sldId="2147472358"/>
            <ac:picMk id="6" creationId="{0F2094EC-C289-47A1-D385-7663D2EFF21C}"/>
          </ac:picMkLst>
        </pc:picChg>
      </pc:sldChg>
      <pc:sldChg chg="modSp mod">
        <pc:chgData name="Jarcik, Andrew" userId="721e7551-2db4-4102-b3c1-66f8e1f48f72" providerId="ADAL" clId="{FCA80545-A11E-4CF6-AF97-918F608BB386}" dt="2024-04-19T16:07:24.329" v="1353" actId="20577"/>
        <pc:sldMkLst>
          <pc:docMk/>
          <pc:sldMk cId="1346836963" sldId="2147472359"/>
        </pc:sldMkLst>
        <pc:graphicFrameChg chg="modGraphic">
          <ac:chgData name="Jarcik, Andrew" userId="721e7551-2db4-4102-b3c1-66f8e1f48f72" providerId="ADAL" clId="{FCA80545-A11E-4CF6-AF97-918F608BB386}" dt="2024-04-19T16:07:24.329" v="1353" actId="20577"/>
          <ac:graphicFrameMkLst>
            <pc:docMk/>
            <pc:sldMk cId="1346836963" sldId="2147472359"/>
            <ac:graphicFrameMk id="23" creationId="{7E8D589F-81F7-4213-87F0-E9771C3F59E4}"/>
          </ac:graphicFrameMkLst>
        </pc:graphicFrameChg>
      </pc:sldChg>
      <pc:sldChg chg="modSp mod">
        <pc:chgData name="Jarcik, Andrew" userId="721e7551-2db4-4102-b3c1-66f8e1f48f72" providerId="ADAL" clId="{FCA80545-A11E-4CF6-AF97-918F608BB386}" dt="2024-04-08T20:58:35.805" v="112" actId="20577"/>
        <pc:sldMkLst>
          <pc:docMk/>
          <pc:sldMk cId="3942490418" sldId="2147472363"/>
        </pc:sldMkLst>
        <pc:graphicFrameChg chg="modGraphic">
          <ac:chgData name="Jarcik, Andrew" userId="721e7551-2db4-4102-b3c1-66f8e1f48f72" providerId="ADAL" clId="{FCA80545-A11E-4CF6-AF97-918F608BB386}" dt="2024-04-08T20:58:35.805" v="112" actId="20577"/>
          <ac:graphicFrameMkLst>
            <pc:docMk/>
            <pc:sldMk cId="3942490418" sldId="2147472363"/>
            <ac:graphicFrameMk id="23" creationId="{7E8D589F-81F7-4213-87F0-E9771C3F59E4}"/>
          </ac:graphicFrameMkLst>
        </pc:graphicFrameChg>
      </pc:sldChg>
      <pc:sldChg chg="modSp mod">
        <pc:chgData name="Jarcik, Andrew" userId="721e7551-2db4-4102-b3c1-66f8e1f48f72" providerId="ADAL" clId="{FCA80545-A11E-4CF6-AF97-918F608BB386}" dt="2024-04-08T20:58:29.615" v="111" actId="20577"/>
        <pc:sldMkLst>
          <pc:docMk/>
          <pc:sldMk cId="1524005427" sldId="2147472364"/>
        </pc:sldMkLst>
        <pc:graphicFrameChg chg="modGraphic">
          <ac:chgData name="Jarcik, Andrew" userId="721e7551-2db4-4102-b3c1-66f8e1f48f72" providerId="ADAL" clId="{FCA80545-A11E-4CF6-AF97-918F608BB386}" dt="2024-04-08T20:58:29.615" v="111" actId="20577"/>
          <ac:graphicFrameMkLst>
            <pc:docMk/>
            <pc:sldMk cId="1524005427" sldId="2147472364"/>
            <ac:graphicFrameMk id="23" creationId="{7E8D589F-81F7-4213-87F0-E9771C3F59E4}"/>
          </ac:graphicFrameMkLst>
        </pc:graphicFrameChg>
      </pc:sldChg>
      <pc:sldChg chg="modSp mod">
        <pc:chgData name="Jarcik, Andrew" userId="721e7551-2db4-4102-b3c1-66f8e1f48f72" providerId="ADAL" clId="{FCA80545-A11E-4CF6-AF97-918F608BB386}" dt="2024-04-12T15:12:45.380" v="302" actId="33524"/>
        <pc:sldMkLst>
          <pc:docMk/>
          <pc:sldMk cId="2450963468" sldId="2147472365"/>
        </pc:sldMkLst>
        <pc:graphicFrameChg chg="mod modGraphic">
          <ac:chgData name="Jarcik, Andrew" userId="721e7551-2db4-4102-b3c1-66f8e1f48f72" providerId="ADAL" clId="{FCA80545-A11E-4CF6-AF97-918F608BB386}" dt="2024-04-12T15:12:45.380" v="302" actId="33524"/>
          <ac:graphicFrameMkLst>
            <pc:docMk/>
            <pc:sldMk cId="2450963468" sldId="2147472365"/>
            <ac:graphicFrameMk id="24" creationId="{155F3EFF-79B6-469A-9AA4-B8AD4E28AB71}"/>
          </ac:graphicFrameMkLst>
        </pc:graphicFrameChg>
      </pc:sldChg>
      <pc:sldChg chg="modSp mod">
        <pc:chgData name="Jarcik, Andrew" userId="721e7551-2db4-4102-b3c1-66f8e1f48f72" providerId="ADAL" clId="{FCA80545-A11E-4CF6-AF97-918F608BB386}" dt="2024-04-12T15:30:16.392" v="390" actId="20577"/>
        <pc:sldMkLst>
          <pc:docMk/>
          <pc:sldMk cId="1901620225" sldId="2147472366"/>
        </pc:sldMkLst>
        <pc:spChg chg="mod">
          <ac:chgData name="Jarcik, Andrew" userId="721e7551-2db4-4102-b3c1-66f8e1f48f72" providerId="ADAL" clId="{FCA80545-A11E-4CF6-AF97-918F608BB386}" dt="2024-04-08T20:58:11.414" v="110" actId="20577"/>
          <ac:spMkLst>
            <pc:docMk/>
            <pc:sldMk cId="1901620225" sldId="2147472366"/>
            <ac:spMk id="22" creationId="{A5EAC87E-9257-4219-BCB9-05A757279EC5}"/>
          </ac:spMkLst>
        </pc:spChg>
        <pc:graphicFrameChg chg="mod modGraphic">
          <ac:chgData name="Jarcik, Andrew" userId="721e7551-2db4-4102-b3c1-66f8e1f48f72" providerId="ADAL" clId="{FCA80545-A11E-4CF6-AF97-918F608BB386}" dt="2024-04-12T15:30:16.392" v="390" actId="20577"/>
          <ac:graphicFrameMkLst>
            <pc:docMk/>
            <pc:sldMk cId="1901620225" sldId="2147472366"/>
            <ac:graphicFrameMk id="24" creationId="{155F3EFF-79B6-469A-9AA4-B8AD4E28AB71}"/>
          </ac:graphicFrameMkLst>
        </pc:graphicFrameChg>
      </pc:sldChg>
      <pc:sldChg chg="modSp mod">
        <pc:chgData name="Jarcik, Andrew" userId="721e7551-2db4-4102-b3c1-66f8e1f48f72" providerId="ADAL" clId="{FCA80545-A11E-4CF6-AF97-918F608BB386}" dt="2024-04-12T15:28:47.423" v="386" actId="20577"/>
        <pc:sldMkLst>
          <pc:docMk/>
          <pc:sldMk cId="2534569061" sldId="2147472368"/>
        </pc:sldMkLst>
        <pc:spChg chg="mod">
          <ac:chgData name="Jarcik, Andrew" userId="721e7551-2db4-4102-b3c1-66f8e1f48f72" providerId="ADAL" clId="{FCA80545-A11E-4CF6-AF97-918F608BB386}" dt="2024-04-08T20:57:22.564" v="103" actId="20577"/>
          <ac:spMkLst>
            <pc:docMk/>
            <pc:sldMk cId="2534569061" sldId="2147472368"/>
            <ac:spMk id="22" creationId="{A5EAC87E-9257-4219-BCB9-05A757279EC5}"/>
          </ac:spMkLst>
        </pc:spChg>
        <pc:graphicFrameChg chg="mod modGraphic">
          <ac:chgData name="Jarcik, Andrew" userId="721e7551-2db4-4102-b3c1-66f8e1f48f72" providerId="ADAL" clId="{FCA80545-A11E-4CF6-AF97-918F608BB386}" dt="2024-04-12T15:28:47.423" v="386" actId="20577"/>
          <ac:graphicFrameMkLst>
            <pc:docMk/>
            <pc:sldMk cId="2534569061" sldId="2147472368"/>
            <ac:graphicFrameMk id="24" creationId="{155F3EFF-79B6-469A-9AA4-B8AD4E28AB71}"/>
          </ac:graphicFrameMkLst>
        </pc:graphicFrameChg>
      </pc:sldChg>
      <pc:sldChg chg="modSp mod">
        <pc:chgData name="Jarcik, Andrew" userId="721e7551-2db4-4102-b3c1-66f8e1f48f72" providerId="ADAL" clId="{FCA80545-A11E-4CF6-AF97-918F608BB386}" dt="2024-04-08T21:00:58.578" v="171" actId="20577"/>
        <pc:sldMkLst>
          <pc:docMk/>
          <pc:sldMk cId="274957437" sldId="2147472370"/>
        </pc:sldMkLst>
        <pc:graphicFrameChg chg="mod modGraphic">
          <ac:chgData name="Jarcik, Andrew" userId="721e7551-2db4-4102-b3c1-66f8e1f48f72" providerId="ADAL" clId="{FCA80545-A11E-4CF6-AF97-918F608BB386}" dt="2024-04-08T21:00:58.578" v="171" actId="20577"/>
          <ac:graphicFrameMkLst>
            <pc:docMk/>
            <pc:sldMk cId="274957437" sldId="2147472370"/>
            <ac:graphicFrameMk id="24" creationId="{155F3EFF-79B6-469A-9AA4-B8AD4E28AB71}"/>
          </ac:graphicFrameMkLst>
        </pc:graphicFrameChg>
      </pc:sldChg>
      <pc:sldChg chg="del">
        <pc:chgData name="Jarcik, Andrew" userId="721e7551-2db4-4102-b3c1-66f8e1f48f72" providerId="ADAL" clId="{FCA80545-A11E-4CF6-AF97-918F608BB386}" dt="2024-04-08T21:01:35.279" v="174" actId="2696"/>
        <pc:sldMkLst>
          <pc:docMk/>
          <pc:sldMk cId="625727762" sldId="2147472371"/>
        </pc:sldMkLst>
      </pc:sldChg>
      <pc:sldChg chg="del">
        <pc:chgData name="Jarcik, Andrew" userId="721e7551-2db4-4102-b3c1-66f8e1f48f72" providerId="ADAL" clId="{FCA80545-A11E-4CF6-AF97-918F608BB386}" dt="2024-04-08T21:01:03.846" v="172" actId="2696"/>
        <pc:sldMkLst>
          <pc:docMk/>
          <pc:sldMk cId="1876732044" sldId="2147472371"/>
        </pc:sldMkLst>
      </pc:sldChg>
    </pc:docChg>
  </pc:docChgLst>
  <pc:docChgLst>
    <pc:chgData name="Mercado, Andrea Marisol" userId="S::andmercado@deloitte.com::86282f0d-01fd-4acc-9387-9717b48c3e5d" providerId="AD" clId="Web-{FCA7C9C7-0B34-4D1C-79EF-562C6BB65571}"/>
    <pc:docChg chg="modSld">
      <pc:chgData name="Mercado, Andrea Marisol" userId="S::andmercado@deloitte.com::86282f0d-01fd-4acc-9387-9717b48c3e5d" providerId="AD" clId="Web-{FCA7C9C7-0B34-4D1C-79EF-562C6BB65571}" dt="2024-04-19T16:10:55.809" v="168"/>
      <pc:docMkLst>
        <pc:docMk/>
      </pc:docMkLst>
      <pc:sldChg chg="modSp">
        <pc:chgData name="Mercado, Andrea Marisol" userId="S::andmercado@deloitte.com::86282f0d-01fd-4acc-9387-9717b48c3e5d" providerId="AD" clId="Web-{FCA7C9C7-0B34-4D1C-79EF-562C6BB65571}" dt="2024-04-19T16:10:55.809" v="168"/>
        <pc:sldMkLst>
          <pc:docMk/>
          <pc:sldMk cId="1346836963" sldId="2147472359"/>
        </pc:sldMkLst>
        <pc:graphicFrameChg chg="mod modGraphic">
          <ac:chgData name="Mercado, Andrea Marisol" userId="S::andmercado@deloitte.com::86282f0d-01fd-4acc-9387-9717b48c3e5d" providerId="AD" clId="Web-{FCA7C9C7-0B34-4D1C-79EF-562C6BB65571}" dt="2024-04-19T16:10:55.809" v="168"/>
          <ac:graphicFrameMkLst>
            <pc:docMk/>
            <pc:sldMk cId="1346836963" sldId="2147472359"/>
            <ac:graphicFrameMk id="23" creationId="{7E8D589F-81F7-4213-87F0-E9771C3F59E4}"/>
          </ac:graphicFrameMkLst>
        </pc:graphicFrameChg>
      </pc:sldChg>
      <pc:sldChg chg="modSp">
        <pc:chgData name="Mercado, Andrea Marisol" userId="S::andmercado@deloitte.com::86282f0d-01fd-4acc-9387-9717b48c3e5d" providerId="AD" clId="Web-{FCA7C9C7-0B34-4D1C-79EF-562C6BB65571}" dt="2024-04-19T15:24:09.527" v="67"/>
        <pc:sldMkLst>
          <pc:docMk/>
          <pc:sldMk cId="60545516" sldId="2147472361"/>
        </pc:sldMkLst>
        <pc:graphicFrameChg chg="mod modGraphic">
          <ac:chgData name="Mercado, Andrea Marisol" userId="S::andmercado@deloitte.com::86282f0d-01fd-4acc-9387-9717b48c3e5d" providerId="AD" clId="Web-{FCA7C9C7-0B34-4D1C-79EF-562C6BB65571}" dt="2024-04-19T15:24:09.527" v="67"/>
          <ac:graphicFrameMkLst>
            <pc:docMk/>
            <pc:sldMk cId="60545516" sldId="2147472361"/>
            <ac:graphicFrameMk id="23" creationId="{7E8D589F-81F7-4213-87F0-E9771C3F59E4}"/>
          </ac:graphicFrameMkLst>
        </pc:graphicFrameChg>
      </pc:sldChg>
      <pc:sldChg chg="modSp">
        <pc:chgData name="Mercado, Andrea Marisol" userId="S::andmercado@deloitte.com::86282f0d-01fd-4acc-9387-9717b48c3e5d" providerId="AD" clId="Web-{FCA7C9C7-0B34-4D1C-79EF-562C6BB65571}" dt="2024-04-19T15:27:58.767" v="93"/>
        <pc:sldMkLst>
          <pc:docMk/>
          <pc:sldMk cId="1524005427" sldId="2147472364"/>
        </pc:sldMkLst>
        <pc:graphicFrameChg chg="mod modGraphic">
          <ac:chgData name="Mercado, Andrea Marisol" userId="S::andmercado@deloitte.com::86282f0d-01fd-4acc-9387-9717b48c3e5d" providerId="AD" clId="Web-{FCA7C9C7-0B34-4D1C-79EF-562C6BB65571}" dt="2024-04-19T15:27:58.767" v="93"/>
          <ac:graphicFrameMkLst>
            <pc:docMk/>
            <pc:sldMk cId="1524005427" sldId="2147472364"/>
            <ac:graphicFrameMk id="23" creationId="{7E8D589F-81F7-4213-87F0-E9771C3F59E4}"/>
          </ac:graphicFrameMkLst>
        </pc:graphicFrameChg>
      </pc:sldChg>
      <pc:sldChg chg="modSp">
        <pc:chgData name="Mercado, Andrea Marisol" userId="S::andmercado@deloitte.com::86282f0d-01fd-4acc-9387-9717b48c3e5d" providerId="AD" clId="Web-{FCA7C9C7-0B34-4D1C-79EF-562C6BB65571}" dt="2024-04-19T16:06:11.488" v="157"/>
        <pc:sldMkLst>
          <pc:docMk/>
          <pc:sldMk cId="2831691344" sldId="2147472367"/>
        </pc:sldMkLst>
        <pc:graphicFrameChg chg="mod modGraphic">
          <ac:chgData name="Mercado, Andrea Marisol" userId="S::andmercado@deloitte.com::86282f0d-01fd-4acc-9387-9717b48c3e5d" providerId="AD" clId="Web-{FCA7C9C7-0B34-4D1C-79EF-562C6BB65571}" dt="2024-04-19T16:06:11.488" v="157"/>
          <ac:graphicFrameMkLst>
            <pc:docMk/>
            <pc:sldMk cId="2831691344" sldId="2147472367"/>
            <ac:graphicFrameMk id="24" creationId="{155F3EFF-79B6-469A-9AA4-B8AD4E28AB71}"/>
          </ac:graphicFrameMkLst>
        </pc:graphicFrameChg>
      </pc:sldChg>
      <pc:sldChg chg="modSp">
        <pc:chgData name="Mercado, Andrea Marisol" userId="S::andmercado@deloitte.com::86282f0d-01fd-4acc-9387-9717b48c3e5d" providerId="AD" clId="Web-{FCA7C9C7-0B34-4D1C-79EF-562C6BB65571}" dt="2024-04-19T15:59:50.665" v="127"/>
        <pc:sldMkLst>
          <pc:docMk/>
          <pc:sldMk cId="866751995" sldId="2147472369"/>
        </pc:sldMkLst>
        <pc:graphicFrameChg chg="mod modGraphic">
          <ac:chgData name="Mercado, Andrea Marisol" userId="S::andmercado@deloitte.com::86282f0d-01fd-4acc-9387-9717b48c3e5d" providerId="AD" clId="Web-{FCA7C9C7-0B34-4D1C-79EF-562C6BB65571}" dt="2024-04-19T15:59:50.665" v="127"/>
          <ac:graphicFrameMkLst>
            <pc:docMk/>
            <pc:sldMk cId="866751995" sldId="2147472369"/>
            <ac:graphicFrameMk id="24" creationId="{155F3EFF-79B6-469A-9AA4-B8AD4E28AB71}"/>
          </ac:graphicFrameMkLst>
        </pc:graphicFrameChg>
      </pc:sldChg>
      <pc:sldChg chg="modSp">
        <pc:chgData name="Mercado, Andrea Marisol" userId="S::andmercado@deloitte.com::86282f0d-01fd-4acc-9387-9717b48c3e5d" providerId="AD" clId="Web-{FCA7C9C7-0B34-4D1C-79EF-562C6BB65571}" dt="2024-04-19T16:04:37.751" v="155"/>
        <pc:sldMkLst>
          <pc:docMk/>
          <pc:sldMk cId="274957437" sldId="2147472370"/>
        </pc:sldMkLst>
        <pc:graphicFrameChg chg="mod modGraphic">
          <ac:chgData name="Mercado, Andrea Marisol" userId="S::andmercado@deloitte.com::86282f0d-01fd-4acc-9387-9717b48c3e5d" providerId="AD" clId="Web-{FCA7C9C7-0B34-4D1C-79EF-562C6BB65571}" dt="2024-04-19T16:04:37.751" v="155"/>
          <ac:graphicFrameMkLst>
            <pc:docMk/>
            <pc:sldMk cId="274957437" sldId="2147472370"/>
            <ac:graphicFrameMk id="24" creationId="{155F3EFF-79B6-469A-9AA4-B8AD4E28AB71}"/>
          </ac:graphicFrameMkLst>
        </pc:graphicFrameChg>
      </pc:sldChg>
    </pc:docChg>
  </pc:docChgLst>
  <pc:docChgLst>
    <pc:chgData name="Mercado, Andrea Marisol" userId="S::andmercado@deloitte.com::86282f0d-01fd-4acc-9387-9717b48c3e5d" providerId="AD" clId="Web-{B7EDA041-C601-FA78-A180-82208837B9A4}"/>
    <pc:docChg chg="addSld delSld modSld addSection delSection">
      <pc:chgData name="Mercado, Andrea Marisol" userId="S::andmercado@deloitte.com::86282f0d-01fd-4acc-9387-9717b48c3e5d" providerId="AD" clId="Web-{B7EDA041-C601-FA78-A180-82208837B9A4}" dt="2024-04-08T21:08:38.856" v="396"/>
      <pc:docMkLst>
        <pc:docMk/>
      </pc:docMkLst>
      <pc:sldChg chg="modSp">
        <pc:chgData name="Mercado, Andrea Marisol" userId="S::andmercado@deloitte.com::86282f0d-01fd-4acc-9387-9717b48c3e5d" providerId="AD" clId="Web-{B7EDA041-C601-FA78-A180-82208837B9A4}" dt="2024-04-08T21:08:38.856" v="396"/>
        <pc:sldMkLst>
          <pc:docMk/>
          <pc:sldMk cId="0" sldId="522"/>
        </pc:sldMkLst>
        <pc:spChg chg="mod">
          <ac:chgData name="Mercado, Andrea Marisol" userId="S::andmercado@deloitte.com::86282f0d-01fd-4acc-9387-9717b48c3e5d" providerId="AD" clId="Web-{B7EDA041-C601-FA78-A180-82208837B9A4}" dt="2024-04-08T21:07:12.979" v="302" actId="20577"/>
          <ac:spMkLst>
            <pc:docMk/>
            <pc:sldMk cId="0" sldId="522"/>
            <ac:spMk id="831489" creationId="{00000000-0000-0000-0000-000000000000}"/>
          </ac:spMkLst>
        </pc:spChg>
        <pc:graphicFrameChg chg="mod modGraphic">
          <ac:chgData name="Mercado, Andrea Marisol" userId="S::andmercado@deloitte.com::86282f0d-01fd-4acc-9387-9717b48c3e5d" providerId="AD" clId="Web-{B7EDA041-C601-FA78-A180-82208837B9A4}" dt="2024-04-08T21:08:38.856" v="396"/>
          <ac:graphicFrameMkLst>
            <pc:docMk/>
            <pc:sldMk cId="0" sldId="522"/>
            <ac:graphicFrameMk id="5" creationId="{00000000-0000-0000-0000-000000000000}"/>
          </ac:graphicFrameMkLst>
        </pc:graphicFrameChg>
      </pc:sldChg>
      <pc:sldChg chg="delSp modSp">
        <pc:chgData name="Mercado, Andrea Marisol" userId="S::andmercado@deloitte.com::86282f0d-01fd-4acc-9387-9717b48c3e5d" providerId="AD" clId="Web-{B7EDA041-C601-FA78-A180-82208837B9A4}" dt="2024-04-08T20:57:19.200" v="175" actId="20577"/>
        <pc:sldMkLst>
          <pc:docMk/>
          <pc:sldMk cId="755316252" sldId="2088197599"/>
        </pc:sldMkLst>
        <pc:spChg chg="del mod">
          <ac:chgData name="Mercado, Andrea Marisol" userId="S::andmercado@deloitte.com::86282f0d-01fd-4acc-9387-9717b48c3e5d" providerId="AD" clId="Web-{B7EDA041-C601-FA78-A180-82208837B9A4}" dt="2024-04-08T20:51:38.926" v="58"/>
          <ac:spMkLst>
            <pc:docMk/>
            <pc:sldMk cId="755316252" sldId="2088197599"/>
            <ac:spMk id="2" creationId="{75C2EA3E-DBEF-F003-B7B6-FE3646F2F22D}"/>
          </ac:spMkLst>
        </pc:spChg>
        <pc:spChg chg="mod">
          <ac:chgData name="Mercado, Andrea Marisol" userId="S::andmercado@deloitte.com::86282f0d-01fd-4acc-9387-9717b48c3e5d" providerId="AD" clId="Web-{B7EDA041-C601-FA78-A180-82208837B9A4}" dt="2024-04-08T20:51:26.707" v="43" actId="20577"/>
          <ac:spMkLst>
            <pc:docMk/>
            <pc:sldMk cId="755316252" sldId="2088197599"/>
            <ac:spMk id="9" creationId="{588F215C-10A4-486A-A5A7-B7B0BF7B2FE7}"/>
          </ac:spMkLst>
        </pc:spChg>
        <pc:spChg chg="mod">
          <ac:chgData name="Mercado, Andrea Marisol" userId="S::andmercado@deloitte.com::86282f0d-01fd-4acc-9387-9717b48c3e5d" providerId="AD" clId="Web-{B7EDA041-C601-FA78-A180-82208837B9A4}" dt="2024-04-08T20:57:19.200" v="175" actId="20577"/>
          <ac:spMkLst>
            <pc:docMk/>
            <pc:sldMk cId="755316252" sldId="2088197599"/>
            <ac:spMk id="22" creationId="{A5EAC87E-9257-4219-BCB9-05A757279EC5}"/>
          </ac:spMkLst>
        </pc:spChg>
      </pc:sldChg>
      <pc:sldChg chg="delSp modSp">
        <pc:chgData name="Mercado, Andrea Marisol" userId="S::andmercado@deloitte.com::86282f0d-01fd-4acc-9387-9717b48c3e5d" providerId="AD" clId="Web-{B7EDA041-C601-FA78-A180-82208837B9A4}" dt="2024-04-08T21:04:13.256" v="287"/>
        <pc:sldMkLst>
          <pc:docMk/>
          <pc:sldMk cId="3856161989" sldId="2147472358"/>
        </pc:sldMkLst>
        <pc:spChg chg="del">
          <ac:chgData name="Mercado, Andrea Marisol" userId="S::andmercado@deloitte.com::86282f0d-01fd-4acc-9387-9717b48c3e5d" providerId="AD" clId="Web-{B7EDA041-C601-FA78-A180-82208837B9A4}" dt="2024-04-08T20:53:46.257" v="113"/>
          <ac:spMkLst>
            <pc:docMk/>
            <pc:sldMk cId="3856161989" sldId="2147472358"/>
            <ac:spMk id="2" creationId="{75C2EA3E-DBEF-F003-B7B6-FE3646F2F22D}"/>
          </ac:spMkLst>
        </pc:spChg>
        <pc:graphicFrameChg chg="modGraphic">
          <ac:chgData name="Mercado, Andrea Marisol" userId="S::andmercado@deloitte.com::86282f0d-01fd-4acc-9387-9717b48c3e5d" providerId="AD" clId="Web-{B7EDA041-C601-FA78-A180-82208837B9A4}" dt="2024-04-08T21:04:13.256" v="287"/>
          <ac:graphicFrameMkLst>
            <pc:docMk/>
            <pc:sldMk cId="3856161989" sldId="2147472358"/>
            <ac:graphicFrameMk id="24" creationId="{155F3EFF-79B6-469A-9AA4-B8AD4E28AB71}"/>
          </ac:graphicFrameMkLst>
        </pc:graphicFrameChg>
      </pc:sldChg>
      <pc:sldChg chg="delSp modSp">
        <pc:chgData name="Mercado, Andrea Marisol" userId="S::andmercado@deloitte.com::86282f0d-01fd-4acc-9387-9717b48c3e5d" providerId="AD" clId="Web-{B7EDA041-C601-FA78-A180-82208837B9A4}" dt="2024-04-08T20:52:55.225" v="105"/>
        <pc:sldMkLst>
          <pc:docMk/>
          <pc:sldMk cId="1346836963" sldId="2147472359"/>
        </pc:sldMkLst>
        <pc:spChg chg="del mod">
          <ac:chgData name="Mercado, Andrea Marisol" userId="S::andmercado@deloitte.com::86282f0d-01fd-4acc-9387-9717b48c3e5d" providerId="AD" clId="Web-{B7EDA041-C601-FA78-A180-82208837B9A4}" dt="2024-04-08T20:52:55.225" v="105"/>
          <ac:spMkLst>
            <pc:docMk/>
            <pc:sldMk cId="1346836963" sldId="2147472359"/>
            <ac:spMk id="2" creationId="{75C2EA3E-DBEF-F003-B7B6-FE3646F2F22D}"/>
          </ac:spMkLst>
        </pc:spChg>
        <pc:spChg chg="mod">
          <ac:chgData name="Mercado, Andrea Marisol" userId="S::andmercado@deloitte.com::86282f0d-01fd-4acc-9387-9717b48c3e5d" providerId="AD" clId="Web-{B7EDA041-C601-FA78-A180-82208837B9A4}" dt="2024-04-08T20:52:48.443" v="94" actId="20577"/>
          <ac:spMkLst>
            <pc:docMk/>
            <pc:sldMk cId="1346836963" sldId="2147472359"/>
            <ac:spMk id="9" creationId="{588F215C-10A4-486A-A5A7-B7B0BF7B2FE7}"/>
          </ac:spMkLst>
        </pc:spChg>
      </pc:sldChg>
      <pc:sldChg chg="modSp">
        <pc:chgData name="Mercado, Andrea Marisol" userId="S::andmercado@deloitte.com::86282f0d-01fd-4acc-9387-9717b48c3e5d" providerId="AD" clId="Web-{B7EDA041-C601-FA78-A180-82208837B9A4}" dt="2024-04-08T20:57:27.950" v="176" actId="20577"/>
        <pc:sldMkLst>
          <pc:docMk/>
          <pc:sldMk cId="3113105376" sldId="2147472360"/>
        </pc:sldMkLst>
        <pc:spChg chg="mod">
          <ac:chgData name="Mercado, Andrea Marisol" userId="S::andmercado@deloitte.com::86282f0d-01fd-4acc-9387-9717b48c3e5d" providerId="AD" clId="Web-{B7EDA041-C601-FA78-A180-82208837B9A4}" dt="2024-04-08T20:52:12.067" v="68" actId="20577"/>
          <ac:spMkLst>
            <pc:docMk/>
            <pc:sldMk cId="3113105376" sldId="2147472360"/>
            <ac:spMk id="9" creationId="{588F215C-10A4-486A-A5A7-B7B0BF7B2FE7}"/>
          </ac:spMkLst>
        </pc:spChg>
        <pc:spChg chg="mod">
          <ac:chgData name="Mercado, Andrea Marisol" userId="S::andmercado@deloitte.com::86282f0d-01fd-4acc-9387-9717b48c3e5d" providerId="AD" clId="Web-{B7EDA041-C601-FA78-A180-82208837B9A4}" dt="2024-04-08T20:57:27.950" v="176" actId="20577"/>
          <ac:spMkLst>
            <pc:docMk/>
            <pc:sldMk cId="3113105376" sldId="2147472360"/>
            <ac:spMk id="22" creationId="{A5EAC87E-9257-4219-BCB9-05A757279EC5}"/>
          </ac:spMkLst>
        </pc:spChg>
        <pc:graphicFrameChg chg="mod modGraphic">
          <ac:chgData name="Mercado, Andrea Marisol" userId="S::andmercado@deloitte.com::86282f0d-01fd-4acc-9387-9717b48c3e5d" providerId="AD" clId="Web-{B7EDA041-C601-FA78-A180-82208837B9A4}" dt="2024-04-08T20:52:23.505" v="76"/>
          <ac:graphicFrameMkLst>
            <pc:docMk/>
            <pc:sldMk cId="3113105376" sldId="2147472360"/>
            <ac:graphicFrameMk id="23" creationId="{7E8D589F-81F7-4213-87F0-E9771C3F59E4}"/>
          </ac:graphicFrameMkLst>
        </pc:graphicFrameChg>
      </pc:sldChg>
      <pc:sldChg chg="modSp">
        <pc:chgData name="Mercado, Andrea Marisol" userId="S::andmercado@deloitte.com::86282f0d-01fd-4acc-9387-9717b48c3e5d" providerId="AD" clId="Web-{B7EDA041-C601-FA78-A180-82208837B9A4}" dt="2024-04-08T20:59:56.531" v="224"/>
        <pc:sldMkLst>
          <pc:docMk/>
          <pc:sldMk cId="60545516" sldId="2147472361"/>
        </pc:sldMkLst>
        <pc:spChg chg="mod">
          <ac:chgData name="Mercado, Andrea Marisol" userId="S::andmercado@deloitte.com::86282f0d-01fd-4acc-9387-9717b48c3e5d" providerId="AD" clId="Web-{B7EDA041-C601-FA78-A180-82208837B9A4}" dt="2024-04-08T20:51:58.926" v="66" actId="20577"/>
          <ac:spMkLst>
            <pc:docMk/>
            <pc:sldMk cId="60545516" sldId="2147472361"/>
            <ac:spMk id="9" creationId="{588F215C-10A4-486A-A5A7-B7B0BF7B2FE7}"/>
          </ac:spMkLst>
        </pc:spChg>
        <pc:graphicFrameChg chg="mod modGraphic">
          <ac:chgData name="Mercado, Andrea Marisol" userId="S::andmercado@deloitte.com::86282f0d-01fd-4acc-9387-9717b48c3e5d" providerId="AD" clId="Web-{B7EDA041-C601-FA78-A180-82208837B9A4}" dt="2024-04-08T20:59:56.531" v="224"/>
          <ac:graphicFrameMkLst>
            <pc:docMk/>
            <pc:sldMk cId="60545516" sldId="2147472361"/>
            <ac:graphicFrameMk id="23" creationId="{7E8D589F-81F7-4213-87F0-E9771C3F59E4}"/>
          </ac:graphicFrameMkLst>
        </pc:graphicFrameChg>
      </pc:sldChg>
      <pc:sldChg chg="modSp del">
        <pc:chgData name="Mercado, Andrea Marisol" userId="S::andmercado@deloitte.com::86282f0d-01fd-4acc-9387-9717b48c3e5d" providerId="AD" clId="Web-{B7EDA041-C601-FA78-A180-82208837B9A4}" dt="2024-04-08T21:03:23.442" v="286"/>
        <pc:sldMkLst>
          <pc:docMk/>
          <pc:sldMk cId="3290769511" sldId="2147472362"/>
        </pc:sldMkLst>
        <pc:spChg chg="mod">
          <ac:chgData name="Mercado, Andrea Marisol" userId="S::andmercado@deloitte.com::86282f0d-01fd-4acc-9387-9717b48c3e5d" providerId="AD" clId="Web-{B7EDA041-C601-FA78-A180-82208837B9A4}" dt="2024-04-08T20:52:38.912" v="79" actId="20577"/>
          <ac:spMkLst>
            <pc:docMk/>
            <pc:sldMk cId="3290769511" sldId="2147472362"/>
            <ac:spMk id="9" creationId="{588F215C-10A4-486A-A5A7-B7B0BF7B2FE7}"/>
          </ac:spMkLst>
        </pc:spChg>
        <pc:spChg chg="mod">
          <ac:chgData name="Mercado, Andrea Marisol" userId="S::andmercado@deloitte.com::86282f0d-01fd-4acc-9387-9717b48c3e5d" providerId="AD" clId="Web-{B7EDA041-C601-FA78-A180-82208837B9A4}" dt="2024-04-08T20:57:37.309" v="177" actId="20577"/>
          <ac:spMkLst>
            <pc:docMk/>
            <pc:sldMk cId="3290769511" sldId="2147472362"/>
            <ac:spMk id="22" creationId="{A5EAC87E-9257-4219-BCB9-05A757279EC5}"/>
          </ac:spMkLst>
        </pc:spChg>
        <pc:graphicFrameChg chg="mod modGraphic">
          <ac:chgData name="Mercado, Andrea Marisol" userId="S::andmercado@deloitte.com::86282f0d-01fd-4acc-9387-9717b48c3e5d" providerId="AD" clId="Web-{B7EDA041-C601-FA78-A180-82208837B9A4}" dt="2024-04-08T21:00:12.563" v="232"/>
          <ac:graphicFrameMkLst>
            <pc:docMk/>
            <pc:sldMk cId="3290769511" sldId="2147472362"/>
            <ac:graphicFrameMk id="23" creationId="{7E8D589F-81F7-4213-87F0-E9771C3F59E4}"/>
          </ac:graphicFrameMkLst>
        </pc:graphicFrameChg>
      </pc:sldChg>
      <pc:sldChg chg="delSp modSp">
        <pc:chgData name="Mercado, Andrea Marisol" userId="S::andmercado@deloitte.com::86282f0d-01fd-4acc-9387-9717b48c3e5d" providerId="AD" clId="Web-{B7EDA041-C601-FA78-A180-82208837B9A4}" dt="2024-04-08T20:52:33.787" v="78" actId="20577"/>
        <pc:sldMkLst>
          <pc:docMk/>
          <pc:sldMk cId="3942490418" sldId="2147472363"/>
        </pc:sldMkLst>
        <pc:spChg chg="del mod">
          <ac:chgData name="Mercado, Andrea Marisol" userId="S::andmercado@deloitte.com::86282f0d-01fd-4acc-9387-9717b48c3e5d" providerId="AD" clId="Web-{B7EDA041-C601-FA78-A180-82208837B9A4}" dt="2024-04-08T20:50:56.519" v="5"/>
          <ac:spMkLst>
            <pc:docMk/>
            <pc:sldMk cId="3942490418" sldId="2147472363"/>
            <ac:spMk id="2" creationId="{75C2EA3E-DBEF-F003-B7B6-FE3646F2F22D}"/>
          </ac:spMkLst>
        </pc:spChg>
        <pc:spChg chg="mod">
          <ac:chgData name="Mercado, Andrea Marisol" userId="S::andmercado@deloitte.com::86282f0d-01fd-4acc-9387-9717b48c3e5d" providerId="AD" clId="Web-{B7EDA041-C601-FA78-A180-82208837B9A4}" dt="2024-04-08T20:52:33.787" v="78" actId="20577"/>
          <ac:spMkLst>
            <pc:docMk/>
            <pc:sldMk cId="3942490418" sldId="2147472363"/>
            <ac:spMk id="9" creationId="{588F215C-10A4-486A-A5A7-B7B0BF7B2FE7}"/>
          </ac:spMkLst>
        </pc:spChg>
      </pc:sldChg>
      <pc:sldChg chg="delSp modSp">
        <pc:chgData name="Mercado, Andrea Marisol" userId="S::andmercado@deloitte.com::86282f0d-01fd-4acc-9387-9717b48c3e5d" providerId="AD" clId="Web-{B7EDA041-C601-FA78-A180-82208837B9A4}" dt="2024-04-08T20:58:01.326" v="194"/>
        <pc:sldMkLst>
          <pc:docMk/>
          <pc:sldMk cId="1524005427" sldId="2147472364"/>
        </pc:sldMkLst>
        <pc:spChg chg="del mod">
          <ac:chgData name="Mercado, Andrea Marisol" userId="S::andmercado@deloitte.com::86282f0d-01fd-4acc-9387-9717b48c3e5d" providerId="AD" clId="Web-{B7EDA041-C601-FA78-A180-82208837B9A4}" dt="2024-04-08T20:58:01.326" v="194"/>
          <ac:spMkLst>
            <pc:docMk/>
            <pc:sldMk cId="1524005427" sldId="2147472364"/>
            <ac:spMk id="2" creationId="{75C2EA3E-DBEF-F003-B7B6-FE3646F2F22D}"/>
          </ac:spMkLst>
        </pc:spChg>
        <pc:spChg chg="mod">
          <ac:chgData name="Mercado, Andrea Marisol" userId="S::andmercado@deloitte.com::86282f0d-01fd-4acc-9387-9717b48c3e5d" providerId="AD" clId="Web-{B7EDA041-C601-FA78-A180-82208837B9A4}" dt="2024-04-08T20:57:51.575" v="192" actId="20577"/>
          <ac:spMkLst>
            <pc:docMk/>
            <pc:sldMk cId="1524005427" sldId="2147472364"/>
            <ac:spMk id="9" creationId="{588F215C-10A4-486A-A5A7-B7B0BF7B2FE7}"/>
          </ac:spMkLst>
        </pc:spChg>
        <pc:spChg chg="mod">
          <ac:chgData name="Mercado, Andrea Marisol" userId="S::andmercado@deloitte.com::86282f0d-01fd-4acc-9387-9717b48c3e5d" providerId="AD" clId="Web-{B7EDA041-C601-FA78-A180-82208837B9A4}" dt="2024-04-08T20:57:45.231" v="178" actId="20577"/>
          <ac:spMkLst>
            <pc:docMk/>
            <pc:sldMk cId="1524005427" sldId="2147472364"/>
            <ac:spMk id="22" creationId="{A5EAC87E-9257-4219-BCB9-05A757279EC5}"/>
          </ac:spMkLst>
        </pc:spChg>
      </pc:sldChg>
      <pc:sldChg chg="delSp modSp add replId">
        <pc:chgData name="Mercado, Andrea Marisol" userId="S::andmercado@deloitte.com::86282f0d-01fd-4acc-9387-9717b48c3e5d" providerId="AD" clId="Web-{B7EDA041-C601-FA78-A180-82208837B9A4}" dt="2024-04-08T20:58:42.717" v="196"/>
        <pc:sldMkLst>
          <pc:docMk/>
          <pc:sldMk cId="2450963468" sldId="2147472365"/>
        </pc:sldMkLst>
        <pc:spChg chg="del mod">
          <ac:chgData name="Mercado, Andrea Marisol" userId="S::andmercado@deloitte.com::86282f0d-01fd-4acc-9387-9717b48c3e5d" providerId="AD" clId="Web-{B7EDA041-C601-FA78-A180-82208837B9A4}" dt="2024-04-08T20:54:03.617" v="120"/>
          <ac:spMkLst>
            <pc:docMk/>
            <pc:sldMk cId="2450963468" sldId="2147472365"/>
            <ac:spMk id="2" creationId="{75C2EA3E-DBEF-F003-B7B6-FE3646F2F22D}"/>
          </ac:spMkLst>
        </pc:spChg>
        <pc:spChg chg="mod">
          <ac:chgData name="Mercado, Andrea Marisol" userId="S::andmercado@deloitte.com::86282f0d-01fd-4acc-9387-9717b48c3e5d" providerId="AD" clId="Web-{B7EDA041-C601-FA78-A180-82208837B9A4}" dt="2024-04-08T20:56:11.385" v="155" actId="20577"/>
          <ac:spMkLst>
            <pc:docMk/>
            <pc:sldMk cId="2450963468" sldId="2147472365"/>
            <ac:spMk id="9" creationId="{588F215C-10A4-486A-A5A7-B7B0BF7B2FE7}"/>
          </ac:spMkLst>
        </pc:spChg>
        <pc:graphicFrameChg chg="mod modGraphic">
          <ac:chgData name="Mercado, Andrea Marisol" userId="S::andmercado@deloitte.com::86282f0d-01fd-4acc-9387-9717b48c3e5d" providerId="AD" clId="Web-{B7EDA041-C601-FA78-A180-82208837B9A4}" dt="2024-04-08T20:58:42.717" v="196"/>
          <ac:graphicFrameMkLst>
            <pc:docMk/>
            <pc:sldMk cId="2450963468" sldId="2147472365"/>
            <ac:graphicFrameMk id="24" creationId="{155F3EFF-79B6-469A-9AA4-B8AD4E28AB71}"/>
          </ac:graphicFrameMkLst>
        </pc:graphicFrameChg>
      </pc:sldChg>
      <pc:sldChg chg="delSp modSp add replId">
        <pc:chgData name="Mercado, Andrea Marisol" userId="S::andmercado@deloitte.com::86282f0d-01fd-4acc-9387-9717b48c3e5d" providerId="AD" clId="Web-{B7EDA041-C601-FA78-A180-82208837B9A4}" dt="2024-04-08T21:01:53.065" v="236"/>
        <pc:sldMkLst>
          <pc:docMk/>
          <pc:sldMk cId="1901620225" sldId="2147472366"/>
        </pc:sldMkLst>
        <pc:spChg chg="del">
          <ac:chgData name="Mercado, Andrea Marisol" userId="S::andmercado@deloitte.com::86282f0d-01fd-4acc-9387-9717b48c3e5d" providerId="AD" clId="Web-{B7EDA041-C601-FA78-A180-82208837B9A4}" dt="2024-04-08T20:55:06.040" v="134"/>
          <ac:spMkLst>
            <pc:docMk/>
            <pc:sldMk cId="1901620225" sldId="2147472366"/>
            <ac:spMk id="2" creationId="{75C2EA3E-DBEF-F003-B7B6-FE3646F2F22D}"/>
          </ac:spMkLst>
        </pc:spChg>
        <pc:spChg chg="mod">
          <ac:chgData name="Mercado, Andrea Marisol" userId="S::andmercado@deloitte.com::86282f0d-01fd-4acc-9387-9717b48c3e5d" providerId="AD" clId="Web-{B7EDA041-C601-FA78-A180-82208837B9A4}" dt="2024-04-08T20:55:52.651" v="148" actId="20577"/>
          <ac:spMkLst>
            <pc:docMk/>
            <pc:sldMk cId="1901620225" sldId="2147472366"/>
            <ac:spMk id="9" creationId="{588F215C-10A4-486A-A5A7-B7B0BF7B2FE7}"/>
          </ac:spMkLst>
        </pc:spChg>
        <pc:graphicFrameChg chg="mod modGraphic">
          <ac:chgData name="Mercado, Andrea Marisol" userId="S::andmercado@deloitte.com::86282f0d-01fd-4acc-9387-9717b48c3e5d" providerId="AD" clId="Web-{B7EDA041-C601-FA78-A180-82208837B9A4}" dt="2024-04-08T21:01:53.065" v="236"/>
          <ac:graphicFrameMkLst>
            <pc:docMk/>
            <pc:sldMk cId="1901620225" sldId="2147472366"/>
            <ac:graphicFrameMk id="24" creationId="{155F3EFF-79B6-469A-9AA4-B8AD4E28AB71}"/>
          </ac:graphicFrameMkLst>
        </pc:graphicFrameChg>
      </pc:sldChg>
      <pc:sldChg chg="modSp add replId">
        <pc:chgData name="Mercado, Andrea Marisol" userId="S::andmercado@deloitte.com::86282f0d-01fd-4acc-9387-9717b48c3e5d" providerId="AD" clId="Web-{B7EDA041-C601-FA78-A180-82208837B9A4}" dt="2024-04-08T21:06:17.665" v="301"/>
        <pc:sldMkLst>
          <pc:docMk/>
          <pc:sldMk cId="2831691344" sldId="2147472367"/>
        </pc:sldMkLst>
        <pc:spChg chg="mod">
          <ac:chgData name="Mercado, Andrea Marisol" userId="S::andmercado@deloitte.com::86282f0d-01fd-4acc-9387-9717b48c3e5d" providerId="AD" clId="Web-{B7EDA041-C601-FA78-A180-82208837B9A4}" dt="2024-04-08T20:56:03.120" v="152" actId="20577"/>
          <ac:spMkLst>
            <pc:docMk/>
            <pc:sldMk cId="2831691344" sldId="2147472367"/>
            <ac:spMk id="9" creationId="{588F215C-10A4-486A-A5A7-B7B0BF7B2FE7}"/>
          </ac:spMkLst>
        </pc:spChg>
        <pc:graphicFrameChg chg="mod modGraphic">
          <ac:chgData name="Mercado, Andrea Marisol" userId="S::andmercado@deloitte.com::86282f0d-01fd-4acc-9387-9717b48c3e5d" providerId="AD" clId="Web-{B7EDA041-C601-FA78-A180-82208837B9A4}" dt="2024-04-08T21:06:17.665" v="301"/>
          <ac:graphicFrameMkLst>
            <pc:docMk/>
            <pc:sldMk cId="2831691344" sldId="2147472367"/>
            <ac:graphicFrameMk id="24" creationId="{155F3EFF-79B6-469A-9AA4-B8AD4E28AB71}"/>
          </ac:graphicFrameMkLst>
        </pc:graphicFrameChg>
      </pc:sldChg>
      <pc:sldChg chg="delSp modSp add replId">
        <pc:chgData name="Mercado, Andrea Marisol" userId="S::andmercado@deloitte.com::86282f0d-01fd-4acc-9387-9717b48c3e5d" providerId="AD" clId="Web-{B7EDA041-C601-FA78-A180-82208837B9A4}" dt="2024-04-08T20:58:55.921" v="198"/>
        <pc:sldMkLst>
          <pc:docMk/>
          <pc:sldMk cId="2534569061" sldId="2147472368"/>
        </pc:sldMkLst>
        <pc:spChg chg="del mod">
          <ac:chgData name="Mercado, Andrea Marisol" userId="S::andmercado@deloitte.com::86282f0d-01fd-4acc-9387-9717b48c3e5d" providerId="AD" clId="Web-{B7EDA041-C601-FA78-A180-82208837B9A4}" dt="2024-04-08T20:58:55.921" v="198"/>
          <ac:spMkLst>
            <pc:docMk/>
            <pc:sldMk cId="2534569061" sldId="2147472368"/>
            <ac:spMk id="2" creationId="{75C2EA3E-DBEF-F003-B7B6-FE3646F2F22D}"/>
          </ac:spMkLst>
        </pc:spChg>
        <pc:spChg chg="mod">
          <ac:chgData name="Mercado, Andrea Marisol" userId="S::andmercado@deloitte.com::86282f0d-01fd-4acc-9387-9717b48c3e5d" providerId="AD" clId="Web-{B7EDA041-C601-FA78-A180-82208837B9A4}" dt="2024-04-08T20:56:06.838" v="153" actId="20577"/>
          <ac:spMkLst>
            <pc:docMk/>
            <pc:sldMk cId="2534569061" sldId="2147472368"/>
            <ac:spMk id="9" creationId="{588F215C-10A4-486A-A5A7-B7B0BF7B2FE7}"/>
          </ac:spMkLst>
        </pc:spChg>
        <pc:graphicFrameChg chg="modGraphic">
          <ac:chgData name="Mercado, Andrea Marisol" userId="S::andmercado@deloitte.com::86282f0d-01fd-4acc-9387-9717b48c3e5d" providerId="AD" clId="Web-{B7EDA041-C601-FA78-A180-82208837B9A4}" dt="2024-04-08T20:54:19.898" v="122"/>
          <ac:graphicFrameMkLst>
            <pc:docMk/>
            <pc:sldMk cId="2534569061" sldId="2147472368"/>
            <ac:graphicFrameMk id="24" creationId="{155F3EFF-79B6-469A-9AA4-B8AD4E28AB71}"/>
          </ac:graphicFrameMkLst>
        </pc:graphicFrameChg>
      </pc:sldChg>
      <pc:sldChg chg="delSp modSp add replId">
        <pc:chgData name="Mercado, Andrea Marisol" userId="S::andmercado@deloitte.com::86282f0d-01fd-4acc-9387-9717b48c3e5d" providerId="AD" clId="Web-{B7EDA041-C601-FA78-A180-82208837B9A4}" dt="2024-04-08T21:06:04.087" v="299"/>
        <pc:sldMkLst>
          <pc:docMk/>
          <pc:sldMk cId="866751995" sldId="2147472369"/>
        </pc:sldMkLst>
        <pc:spChg chg="del mod">
          <ac:chgData name="Mercado, Andrea Marisol" userId="S::andmercado@deloitte.com::86282f0d-01fd-4acc-9387-9717b48c3e5d" providerId="AD" clId="Web-{B7EDA041-C601-FA78-A180-82208837B9A4}" dt="2024-04-08T20:54:48.634" v="129"/>
          <ac:spMkLst>
            <pc:docMk/>
            <pc:sldMk cId="866751995" sldId="2147472369"/>
            <ac:spMk id="2" creationId="{75C2EA3E-DBEF-F003-B7B6-FE3646F2F22D}"/>
          </ac:spMkLst>
        </pc:spChg>
        <pc:spChg chg="mod">
          <ac:chgData name="Mercado, Andrea Marisol" userId="S::andmercado@deloitte.com::86282f0d-01fd-4acc-9387-9717b48c3e5d" providerId="AD" clId="Web-{B7EDA041-C601-FA78-A180-82208837B9A4}" dt="2024-04-08T20:55:57.713" v="150" actId="20577"/>
          <ac:spMkLst>
            <pc:docMk/>
            <pc:sldMk cId="866751995" sldId="2147472369"/>
            <ac:spMk id="9" creationId="{588F215C-10A4-486A-A5A7-B7B0BF7B2FE7}"/>
          </ac:spMkLst>
        </pc:spChg>
        <pc:graphicFrameChg chg="mod modGraphic">
          <ac:chgData name="Mercado, Andrea Marisol" userId="S::andmercado@deloitte.com::86282f0d-01fd-4acc-9387-9717b48c3e5d" providerId="AD" clId="Web-{B7EDA041-C601-FA78-A180-82208837B9A4}" dt="2024-04-08T21:06:04.087" v="299"/>
          <ac:graphicFrameMkLst>
            <pc:docMk/>
            <pc:sldMk cId="866751995" sldId="2147472369"/>
            <ac:graphicFrameMk id="24" creationId="{155F3EFF-79B6-469A-9AA4-B8AD4E28AB71}"/>
          </ac:graphicFrameMkLst>
        </pc:graphicFrameChg>
      </pc:sldChg>
      <pc:sldChg chg="delSp modSp add replId">
        <pc:chgData name="Mercado, Andrea Marisol" userId="S::andmercado@deloitte.com::86282f0d-01fd-4acc-9387-9717b48c3e5d" providerId="AD" clId="Web-{B7EDA041-C601-FA78-A180-82208837B9A4}" dt="2024-04-08T21:05:47.936" v="297"/>
        <pc:sldMkLst>
          <pc:docMk/>
          <pc:sldMk cId="274957437" sldId="2147472370"/>
        </pc:sldMkLst>
        <pc:spChg chg="del">
          <ac:chgData name="Mercado, Andrea Marisol" userId="S::andmercado@deloitte.com::86282f0d-01fd-4acc-9387-9717b48c3e5d" providerId="AD" clId="Web-{B7EDA041-C601-FA78-A180-82208837B9A4}" dt="2024-04-08T20:55:32.978" v="139"/>
          <ac:spMkLst>
            <pc:docMk/>
            <pc:sldMk cId="274957437" sldId="2147472370"/>
            <ac:spMk id="2" creationId="{75C2EA3E-DBEF-F003-B7B6-FE3646F2F22D}"/>
          </ac:spMkLst>
        </pc:spChg>
        <pc:spChg chg="mod">
          <ac:chgData name="Mercado, Andrea Marisol" userId="S::andmercado@deloitte.com::86282f0d-01fd-4acc-9387-9717b48c3e5d" providerId="AD" clId="Web-{B7EDA041-C601-FA78-A180-82208837B9A4}" dt="2024-04-08T20:55:36.432" v="142" actId="20577"/>
          <ac:spMkLst>
            <pc:docMk/>
            <pc:sldMk cId="274957437" sldId="2147472370"/>
            <ac:spMk id="9" creationId="{588F215C-10A4-486A-A5A7-B7B0BF7B2FE7}"/>
          </ac:spMkLst>
        </pc:spChg>
        <pc:graphicFrameChg chg="mod modGraphic">
          <ac:chgData name="Mercado, Andrea Marisol" userId="S::andmercado@deloitte.com::86282f0d-01fd-4acc-9387-9717b48c3e5d" providerId="AD" clId="Web-{B7EDA041-C601-FA78-A180-82208837B9A4}" dt="2024-04-08T21:05:47.936" v="297"/>
          <ac:graphicFrameMkLst>
            <pc:docMk/>
            <pc:sldMk cId="274957437" sldId="2147472370"/>
            <ac:graphicFrameMk id="24" creationId="{155F3EFF-79B6-469A-9AA4-B8AD4E28AB71}"/>
          </ac:graphicFrameMkLst>
        </pc:graphicFrameChg>
      </pc:sldChg>
      <pc:sldChg chg="modSp add replId">
        <pc:chgData name="Mercado, Andrea Marisol" userId="S::andmercado@deloitte.com::86282f0d-01fd-4acc-9387-9717b48c3e5d" providerId="AD" clId="Web-{B7EDA041-C601-FA78-A180-82208837B9A4}" dt="2024-04-08T21:03:16.786" v="285"/>
        <pc:sldMkLst>
          <pc:docMk/>
          <pc:sldMk cId="736632594" sldId="2147472371"/>
        </pc:sldMkLst>
        <pc:graphicFrameChg chg="mod modGraphic">
          <ac:chgData name="Mercado, Andrea Marisol" userId="S::andmercado@deloitte.com::86282f0d-01fd-4acc-9387-9717b48c3e5d" providerId="AD" clId="Web-{B7EDA041-C601-FA78-A180-82208837B9A4}" dt="2024-04-08T21:03:16.786" v="285"/>
          <ac:graphicFrameMkLst>
            <pc:docMk/>
            <pc:sldMk cId="736632594" sldId="2147472371"/>
            <ac:graphicFrameMk id="23" creationId="{7E8D589F-81F7-4213-87F0-E9771C3F59E4}"/>
          </ac:graphicFrameMkLst>
        </pc:graphicFrameChg>
      </pc:sldChg>
      <pc:sldChg chg="modSp add replId">
        <pc:chgData name="Mercado, Andrea Marisol" userId="S::andmercado@deloitte.com::86282f0d-01fd-4acc-9387-9717b48c3e5d" providerId="AD" clId="Web-{B7EDA041-C601-FA78-A180-82208837B9A4}" dt="2024-04-08T20:55:44.885" v="144" actId="20577"/>
        <pc:sldMkLst>
          <pc:docMk/>
          <pc:sldMk cId="1876732044" sldId="2147472371"/>
        </pc:sldMkLst>
        <pc:spChg chg="mod">
          <ac:chgData name="Mercado, Andrea Marisol" userId="S::andmercado@deloitte.com::86282f0d-01fd-4acc-9387-9717b48c3e5d" providerId="AD" clId="Web-{B7EDA041-C601-FA78-A180-82208837B9A4}" dt="2024-04-08T20:55:44.885" v="144" actId="20577"/>
          <ac:spMkLst>
            <pc:docMk/>
            <pc:sldMk cId="1876732044" sldId="2147472371"/>
            <ac:spMk id="9" creationId="{588F215C-10A4-486A-A5A7-B7B0BF7B2FE7}"/>
          </ac:spMkLst>
        </pc:spChg>
        <pc:graphicFrameChg chg="modGraphic">
          <ac:chgData name="Mercado, Andrea Marisol" userId="S::andmercado@deloitte.com::86282f0d-01fd-4acc-9387-9717b48c3e5d" providerId="AD" clId="Web-{B7EDA041-C601-FA78-A180-82208837B9A4}" dt="2024-04-08T20:55:22.416" v="137"/>
          <ac:graphicFrameMkLst>
            <pc:docMk/>
            <pc:sldMk cId="1876732044" sldId="2147472371"/>
            <ac:graphicFrameMk id="24" creationId="{155F3EFF-79B6-469A-9AA4-B8AD4E28AB71}"/>
          </ac:graphicFrameMkLst>
        </pc:graphicFrameChg>
      </pc:sldChg>
    </pc:docChg>
  </pc:docChgLst>
  <pc:docChgLst>
    <pc:chgData name="Mercado, Andrea Marisol" userId="S::andmercado@deloitte.com::86282f0d-01fd-4acc-9387-9717b48c3e5d" providerId="AD" clId="Web-{379F338D-A05A-06F8-A194-377E2AACC920}"/>
    <pc:docChg chg="modSld">
      <pc:chgData name="Mercado, Andrea Marisol" userId="S::andmercado@deloitte.com::86282f0d-01fd-4acc-9387-9717b48c3e5d" providerId="AD" clId="Web-{379F338D-A05A-06F8-A194-377E2AACC920}" dt="2024-04-26T15:54:10.882" v="37"/>
      <pc:docMkLst>
        <pc:docMk/>
      </pc:docMkLst>
      <pc:sldChg chg="modSp">
        <pc:chgData name="Mercado, Andrea Marisol" userId="S::andmercado@deloitte.com::86282f0d-01fd-4acc-9387-9717b48c3e5d" providerId="AD" clId="Web-{379F338D-A05A-06F8-A194-377E2AACC920}" dt="2024-04-26T15:54:10.882" v="37"/>
        <pc:sldMkLst>
          <pc:docMk/>
          <pc:sldMk cId="0" sldId="522"/>
        </pc:sldMkLst>
        <pc:graphicFrameChg chg="mod modGraphic">
          <ac:chgData name="Mercado, Andrea Marisol" userId="S::andmercado@deloitte.com::86282f0d-01fd-4acc-9387-9717b48c3e5d" providerId="AD" clId="Web-{379F338D-A05A-06F8-A194-377E2AACC920}" dt="2024-04-26T15:54:10.882" v="37"/>
          <ac:graphicFrameMkLst>
            <pc:docMk/>
            <pc:sldMk cId="0" sldId="522"/>
            <ac:graphicFrameMk id="5"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6/12/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6/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Kaggle page grabbed its data from Zenodo.org where all the credit card information was stored.</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Access: </a:t>
                      </a:r>
                      <a:r>
                        <a:rPr lang="en-US" sz="1050">
                          <a:hlinkClick r:id="rId3"/>
                        </a:rPr>
                        <a:t>Prediction of Churning Credit Card Customers (zenodo.org)</a:t>
                      </a:r>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640973999"/>
              </p:ext>
            </p:extLst>
          </p:nvPr>
        </p:nvGraphicFramePr>
        <p:xfrm>
          <a:off x="556381" y="1511905"/>
          <a:ext cx="11100688" cy="2726787"/>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391507">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b="0" kern="1200">
                          <a:solidFill>
                            <a:schemeClr val="tx1"/>
                          </a:solidFill>
                          <a:effectLst/>
                          <a:latin typeface="+mn-lt"/>
                          <a:ea typeface="+mn-ea"/>
                          <a:cs typeface="+mn-cs"/>
                        </a:rPr>
                        <a:t>By o</a:t>
                      </a:r>
                      <a:r>
                        <a:rPr lang="en-US" sz="1050" kern="1200">
                          <a:solidFill>
                            <a:schemeClr val="tx1"/>
                          </a:solidFill>
                          <a:effectLst/>
                          <a:latin typeface="+mn-lt"/>
                          <a:ea typeface="+mn-ea"/>
                          <a:cs typeface="+mn-cs"/>
                        </a:rPr>
                        <a:t>bserving the Kaggle information and analyzing the dataset, there are no missing values in any feature information, which is exceptional for the teamwork in data cleaning process. Most of the problem results could arise from decision making,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ese types of cases. When talking about these problems, for categorical values, the focus is on what type of profile or category is better to analyze. The risk of not having this in consideration will result in a model that is not capable of approaching reality, since it will only consider the categories with the greatest amount of data. The best way to approach this is to make a configuration in hyperparameters to split the same amount of data by category for training the model. This will result in a balanced classification.</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the dataset features in detail, this could be a minimal risk, because most of the integer data is statistically normal. This means that data will not be imbalanced in the case of this type of data. Finally, despite there being some outliers, they do not represent more than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dirty="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390060618"/>
              </p:ext>
            </p:extLst>
          </p:nvPr>
        </p:nvGraphicFramePr>
        <p:xfrm>
          <a:off x="556381" y="1511904"/>
          <a:ext cx="11100688" cy="444147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dirty="0">
                          <a:effectLst/>
                          <a:latin typeface="+mj-lt"/>
                          <a:cs typeface="Arial"/>
                        </a:rPr>
                        <a:t>Modeling Requirements </a:t>
                      </a:r>
                      <a:endParaRPr lang="en-US" sz="1600" b="1" i="0" u="none" strike="noStrike" dirty="0">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marL="0" algn="l" defTabSz="914400" rtl="0" eaLnBrk="1" fontAlgn="b" latinLnBrk="0" hangingPunct="1"/>
                      <a:r>
                        <a:rPr lang="en-US" sz="1050" kern="1200" dirty="0">
                          <a:solidFill>
                            <a:schemeClr val="tx1"/>
                          </a:solidFill>
                          <a:effectLst/>
                          <a:latin typeface="+mn-lt"/>
                          <a:ea typeface="+mn-ea"/>
                          <a:cs typeface="+mn-cs"/>
                        </a:rPr>
                        <a:t>Modeling Techniques* </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lvl="0" algn="l">
                        <a:buNone/>
                      </a:pPr>
                      <a:r>
                        <a:rPr lang="en-US" sz="1050" b="0" i="0" u="none" strike="noStrike" kern="1200" baseline="0" noProof="0" dirty="0">
                          <a:solidFill>
                            <a:srgbClr val="000000"/>
                          </a:solidFill>
                          <a:effectLst/>
                          <a:latin typeface="Open Sans"/>
                        </a:rPr>
                        <a:t>Despite the availability of numerous classification algorithms, the selection for this case will range from the simplest to the most complex models, tailored to the specific implementation needs of this project:</a:t>
                      </a:r>
                      <a:endParaRPr lang="en-US" b="0" i="0" u="none" strike="noStrike" baseline="0" dirty="0">
                        <a:solidFill>
                          <a:srgbClr val="000000"/>
                        </a:solidFill>
                        <a:latin typeface="Open Sans"/>
                      </a:endParaRPr>
                    </a:p>
                    <a:p>
                      <a:pPr marL="0" algn="l" defTabSz="914400" rtl="0" eaLnBrk="1" latinLnBrk="0" hangingPunct="1"/>
                      <a:endParaRPr lang="en-US" sz="1050" kern="1200" dirty="0">
                        <a:solidFill>
                          <a:schemeClr val="tx1"/>
                        </a:solidFill>
                        <a:effectLst/>
                        <a:latin typeface="+mn-lt"/>
                        <a:ea typeface="+mn-ea"/>
                        <a:cs typeface="+mn-cs"/>
                      </a:endParaRPr>
                    </a:p>
                    <a:p>
                      <a:pPr marL="0" lvl="0" indent="0" algn="l">
                        <a:lnSpc>
                          <a:spcPct val="100000"/>
                        </a:lnSpc>
                        <a:buNone/>
                      </a:pPr>
                      <a:r>
                        <a:rPr lang="en-US" sz="1050" b="1" i="0" u="none" strike="noStrike" kern="1200" baseline="0" noProof="0" dirty="0">
                          <a:solidFill>
                            <a:srgbClr val="000000"/>
                          </a:solidFill>
                          <a:effectLst/>
                          <a:latin typeface="Open Sans"/>
                        </a:rPr>
                        <a:t>Logistic Regression</a:t>
                      </a:r>
                      <a:r>
                        <a:rPr lang="en-US" sz="1050" b="0" i="0" u="none" strike="noStrike" kern="1200" baseline="0" noProof="0" dirty="0">
                          <a:solidFill>
                            <a:srgbClr val="000000"/>
                          </a:solidFill>
                          <a:effectLst/>
                          <a:latin typeface="Open Sans"/>
                        </a:rPr>
                        <a:t>: Often, a complex model may not be the best solution. Starting with a simple approach like Logistic Regression helps establish a base accuracy score. This model is particularly suitable for binary outcomes, making it ideal for projects requiring a yes or no decision.</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Principal Component Analysis (PCA): </a:t>
                      </a:r>
                      <a:r>
                        <a:rPr lang="en-US" sz="1050" b="0" i="0" u="none" strike="noStrike" kern="1200" baseline="0" noProof="0" dirty="0">
                          <a:solidFill>
                            <a:srgbClr val="000000"/>
                          </a:solidFill>
                          <a:effectLst/>
                          <a:latin typeface="Open Sans"/>
                        </a:rPr>
                        <a:t>PCA is utilized for dimensionality reduction, transforming high-dimensional data into fewer principal components. This technique enhances model performance by minimizing the risk of overfitting.</a:t>
                      </a:r>
                      <a:endParaRPr lang="en-US" b="0"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K-Nearest Neighbor:</a:t>
                      </a:r>
                      <a:r>
                        <a:rPr lang="en-US" sz="1050" b="0" i="0" u="none" strike="noStrike" kern="1200" baseline="0" noProof="0" dirty="0">
                          <a:solidFill>
                            <a:srgbClr val="000000"/>
                          </a:solidFill>
                          <a:effectLst/>
                          <a:latin typeface="Open Sans"/>
                        </a:rPr>
                        <a:t> This method classifies outcomes based on the proximity to the nearest group of data points. Utilizing K-Nearest Neighbors aids in categorizing results by closeness to selected features, enhancing accuracy.</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Random Forest:</a:t>
                      </a:r>
                      <a:r>
                        <a:rPr lang="en-US" sz="1050" b="0" i="0" u="none" strike="noStrike" kern="1200" baseline="0" noProof="0" dirty="0">
                          <a:solidFill>
                            <a:srgbClr val="000000"/>
                          </a:solidFill>
                          <a:effectLst/>
                          <a:latin typeface="Open Sans"/>
                        </a:rPr>
                        <a:t> This model is excellent at handling multiple variables and reducing overfitting, thereby ensuring robust predictions. Random Forest also plays a crucial role in pinpointing key features that significantly influence customer churn, facilitating targeted interventions.</a:t>
                      </a:r>
                      <a:endParaRPr lang="en-US"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Decision Tree:</a:t>
                      </a:r>
                      <a:r>
                        <a:rPr lang="en-US" sz="1050" b="0" i="0" u="none" strike="noStrike" kern="1200" baseline="0" noProof="0" dirty="0">
                          <a:solidFill>
                            <a:srgbClr val="000000"/>
                          </a:solidFill>
                          <a:effectLst/>
                          <a:latin typeface="Open Sans"/>
                        </a:rPr>
                        <a:t> Decision Trees provide excellent interpretability through rule-based classification, which simplifies understanding and communicating the factors influencing customer decisions.</a:t>
                      </a:r>
                      <a:endParaRPr lang="en-US"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Support Vector Machines (SVM): </a:t>
                      </a:r>
                      <a:r>
                        <a:rPr lang="en-US" sz="1050" b="0" i="0" u="none" strike="noStrike" kern="1200" baseline="0" noProof="0" dirty="0">
                          <a:solidFill>
                            <a:srgbClr val="000000"/>
                          </a:solidFill>
                          <a:effectLst/>
                          <a:latin typeface="Open Sans"/>
                        </a:rPr>
                        <a:t>SVM is effective in delivering precise predictions, especially useful in distinguishing between customers likely to churn and those who will stay, even in cases of complex data patterns.</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K-Means:</a:t>
                      </a:r>
                      <a:r>
                        <a:rPr lang="en-US" sz="1050" b="0" i="0" u="none" strike="noStrike" kern="1200" baseline="0" noProof="0" dirty="0">
                          <a:solidFill>
                            <a:srgbClr val="000000"/>
                          </a:solidFill>
                          <a:effectLst/>
                          <a:latin typeface="Open Sans"/>
                        </a:rPr>
                        <a:t> As an unsupervised learning method, K-Means segments customers into distinct groups based on behaviors or characteristics without prior labeling, efficiently uncovering patterns indicative of potential churn.</a:t>
                      </a:r>
                      <a:endParaRPr lang="en-US" i="0" u="none" strike="noStrike" baseline="0" noProof="0" dirty="0">
                        <a:solidFill>
                          <a:srgbClr val="000000"/>
                        </a:solidFill>
                        <a:latin typeface="Open Sans"/>
                      </a:endParaRPr>
                    </a:p>
                    <a:p>
                      <a:pPr marL="0" lvl="0" algn="l">
                        <a:lnSpc>
                          <a:spcPct val="100000"/>
                        </a:lnSpc>
                        <a:spcBef>
                          <a:spcPts val="0"/>
                        </a:spcBef>
                        <a:spcAft>
                          <a:spcPts val="0"/>
                        </a:spcAft>
                        <a:buNone/>
                      </a:pPr>
                      <a:endParaRPr lang="en-US" sz="1050" kern="1200" dirty="0">
                        <a:solidFill>
                          <a:schemeClr val="tx1"/>
                        </a:solidFill>
                        <a:effectLst/>
                        <a:latin typeface="+mn-lt"/>
                        <a:ea typeface="+mn-ea"/>
                        <a:cs typeface="+mn-c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a:solidFill>
                          <a:srgbClr val="000000"/>
                        </a:solidFill>
                        <a:effectLst/>
                        <a:latin typeface="Open Sans"/>
                        <a:ea typeface="Open Sans"/>
                        <a:cs typeface="Open Sans"/>
                      </a:endParaRPr>
                    </a:p>
                    <a:p>
                      <a:pPr algn="l" fontAlgn="auto"/>
                      <a:endParaRPr lang="en-US" sz="1050" b="0" i="1" u="none" strike="noStrike">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275455907"/>
              </p:ext>
            </p:extLst>
          </p:nvPr>
        </p:nvGraphicFramePr>
        <p:xfrm>
          <a:off x="556381" y="1511904"/>
          <a:ext cx="11100688" cy="335844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Jupyter Notebook</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graphicFrame>
        <p:nvGraphicFramePr>
          <p:cNvPr id="5" name="Group 3"/>
          <p:cNvGraphicFramePr>
            <a:graphicFrameLocks noGrp="1"/>
          </p:cNvGraphicFramePr>
          <p:nvPr>
            <p:extLst>
              <p:ext uri="{D42A27DB-BD31-4B8C-83A1-F6EECF244321}">
                <p14:modId xmlns:p14="http://schemas.microsoft.com/office/powerpoint/2010/main" val="222146801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dirty="0">
                          <a:ln>
                            <a:noFill/>
                          </a:ln>
                          <a:solidFill>
                            <a:srgbClr val="313131"/>
                          </a:solidFill>
                          <a:effectLst/>
                        </a:rPr>
                        <a:t>Week Number</a:t>
                      </a:r>
                      <a:r>
                        <a:rPr lang="en-US" altLang="ja-JP" sz="1100" b="1" u="none" strike="noStrike" cap="none" normalizeH="0" baseline="0" dirty="0">
                          <a:ln>
                            <a:noFill/>
                          </a:ln>
                          <a:solidFill>
                            <a:srgbClr val="313131"/>
                          </a:solidFill>
                          <a:effectLst/>
                        </a:rPr>
                        <a:t> </a:t>
                      </a:r>
                      <a:endParaRPr kumimoji="0" lang="en-US" altLang="ja-JP" sz="1100" b="1" i="0" u="none" strike="noStrike" cap="none" normalizeH="0" baseline="0" dirty="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dirty="0">
                          <a:ln>
                            <a:noFill/>
                          </a:ln>
                          <a:solidFill>
                            <a:srgbClr val="313131"/>
                          </a:solidFill>
                          <a:effectLst/>
                          <a:latin typeface="Arial"/>
                          <a:ea typeface="ＭＳ Ｐゴシック"/>
                        </a:rPr>
                        <a:t>Status Update</a:t>
                      </a:r>
                      <a:r>
                        <a:rPr lang="en-US" altLang="ja-JP" sz="1100" b="1" i="0" u="none" strike="noStrike" cap="none" normalizeH="0" baseline="0" dirty="0">
                          <a:ln>
                            <a:noFill/>
                          </a:ln>
                          <a:solidFill>
                            <a:srgbClr val="313131"/>
                          </a:solidFill>
                          <a:effectLst/>
                          <a:latin typeface="Arial"/>
                          <a:ea typeface="ＭＳ Ｐゴシック"/>
                        </a:rPr>
                        <a:t> </a:t>
                      </a:r>
                      <a:endParaRPr kumimoji="0" lang="en-US" altLang="ja-JP" sz="1100" b="1" i="0" u="none" strike="noStrike" cap="none" normalizeH="0" baseline="0" dirty="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dirty="0">
                          <a:ln>
                            <a:noFill/>
                          </a:ln>
                          <a:solidFill>
                            <a:schemeClr val="bg1"/>
                          </a:solidFill>
                          <a:effectLst/>
                        </a:rPr>
                        <a:t>Milestones</a:t>
                      </a:r>
                      <a:r>
                        <a:rPr lang="en-US" altLang="ja-JP" sz="1100" b="1" i="1" u="none" strike="noStrike" cap="none" normalizeH="0" baseline="0" dirty="0">
                          <a:ln>
                            <a:noFill/>
                          </a:ln>
                          <a:solidFill>
                            <a:schemeClr val="bg1"/>
                          </a:solidFill>
                          <a:effectLst/>
                        </a:rPr>
                        <a:t> </a:t>
                      </a:r>
                      <a:endParaRPr kumimoji="0" lang="en-US" altLang="ja-JP" sz="1100" b="1" i="1" u="none" strike="noStrike" cap="none" normalizeH="0" baseline="0" dirty="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dirty="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VT Feedback </a:t>
                      </a:r>
                      <a:r>
                        <a:rPr kumimoji="0" lang="en-US" sz="800" b="1" i="1" u="none" strike="noStrike" kern="1200" cap="none" normalizeH="0" baseline="0" dirty="0" err="1">
                          <a:ln>
                            <a:noFill/>
                          </a:ln>
                          <a:solidFill>
                            <a:schemeClr val="bg1"/>
                          </a:solidFill>
                          <a:effectLst/>
                          <a:latin typeface="Arial"/>
                          <a:ea typeface="+mn-ea"/>
                          <a:cs typeface="+mn-cs"/>
                        </a:rPr>
                        <a:t>Avaliabl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Flatiron Feedback Availabl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dirty="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Final Pres.</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ormulate business problem</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ind data set</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erform literature review</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dirty="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Implement solution </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reliminary results</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inal Results</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Evaluate and Benchmark</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resentation Prep</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7658100" y="4842381"/>
            <a:ext cx="4192488" cy="121562"/>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28501821"/>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credit card company's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781736151"/>
              </p:ext>
            </p:extLst>
          </p:nvPr>
        </p:nvGraphicFramePr>
        <p:xfrm>
          <a:off x="718864" y="1510030"/>
          <a:ext cx="10636065" cy="3143802"/>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2">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13691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metrics the credit card company would want to focus on, are accuracy and recall. Accuracy is to test the general correctness of the model and is important to analyze since the company will want to get information on how well the model avoids False Positives and False Negatives. However, they will want to further look at the recall of the model since False Negatives are much more detrimental to the company. False Negatives would be a customer that the model does not believe is going to churn but does in fact churn while False Positives are the opposite. Thus, recall will be focused on since False Negatives are to be prioritized as these will affect the companies’ bottom lines, while the False Positives will not.</a:t>
                      </a: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n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44223352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client needs, particularly with the help of technologies and digital tools. However, our team is aware that clients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Clients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62ABF4-C375-449C-9CBF-FBBF0DC27BB3}">
  <ds:schemaRefs>
    <ds:schemaRef ds:uri="http://schemas.microsoft.com/office/2006/documentManagement/types"/>
    <ds:schemaRef ds:uri="http://schemas.microsoft.com/office/2006/metadata/properties"/>
    <ds:schemaRef ds:uri="http://purl.org/dc/dcmitype/"/>
    <ds:schemaRef ds:uri="http://purl.org/dc/elements/1.1/"/>
    <ds:schemaRef ds:uri="http://schemas.openxmlformats.org/package/2006/metadata/core-properties"/>
    <ds:schemaRef ds:uri="http://schemas.microsoft.com/office/infopath/2007/PartnerControls"/>
    <ds:schemaRef ds:uri="http://purl.org/dc/terms/"/>
    <ds:schemaRef ds:uri="020100ae-1eb6-4747-a25b-6dc6dcbd1e73"/>
    <ds:schemaRef ds:uri="8c723c61-34f3-420c-a1b5-94b8a6ceade4"/>
    <ds:schemaRef ds:uri="http://www.w3.org/XML/1998/namespace"/>
  </ds:schemaRefs>
</ds:datastoreItem>
</file>

<file path=customXml/itemProps2.xml><?xml version="1.0" encoding="utf-8"?>
<ds:datastoreItem xmlns:ds="http://schemas.openxmlformats.org/officeDocument/2006/customXml" ds:itemID="{A72308DE-6F00-4CBF-8D3A-77DDCF12D455}">
  <ds:schemaRefs>
    <ds:schemaRef ds:uri="http://schemas.microsoft.com/sharepoint/v3/contenttype/forms"/>
  </ds:schemaRefs>
</ds:datastoreItem>
</file>

<file path=customXml/itemProps3.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TA_Master PPT Template</Template>
  <TotalTime>0</TotalTime>
  <Words>3649</Words>
  <Application>Microsoft Office PowerPoint</Application>
  <PresentationFormat>Widescreen</PresentationFormat>
  <Paragraphs>253</Paragraphs>
  <Slides>16</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libri Light</vt:lpstr>
      <vt:lpstr>Open Sans</vt:lpstr>
      <vt:lpstr>Open Sans Light</vt:lpstr>
      <vt:lpstr>Open Sans Semibold</vt:lpstr>
      <vt:lpstr>Symbol</vt:lpstr>
      <vt:lpstr>Verdana</vt:lpstr>
      <vt:lpstr>Wingdings 2</vt:lpstr>
      <vt:lpstr>DTA_Master_Theme</vt:lpstr>
      <vt:lpstr>2_Deloitte Brand Theme</vt:lpstr>
      <vt:lpstr>think-cell Slid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lastModifiedBy>Jarcik, Andrew</cp:lastModifiedBy>
  <cp:revision>93</cp:revision>
  <dcterms:created xsi:type="dcterms:W3CDTF">2023-08-28T12:36:49Z</dcterms:created>
  <dcterms:modified xsi:type="dcterms:W3CDTF">2024-06-12T17:3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